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2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theme/theme3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40" r:id="rId5"/>
    <p:sldMasterId id="2147483885" r:id="rId6"/>
  </p:sldMasterIdLst>
  <p:notesMasterIdLst>
    <p:notesMasterId r:id="rId12"/>
  </p:notesMasterIdLst>
  <p:sldIdLst>
    <p:sldId id="266" r:id="rId7"/>
    <p:sldId id="271" r:id="rId8"/>
    <p:sldId id="277" r:id="rId9"/>
    <p:sldId id="273" r:id="rId10"/>
    <p:sldId id="26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ECAE74-A73A-4FC2-B024-95A60CAD4378}" v="920" dt="2024-04-22T14:12:47.6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4660"/>
  </p:normalViewPr>
  <p:slideViewPr>
    <p:cSldViewPr snapToGrid="0">
      <p:cViewPr varScale="1">
        <p:scale>
          <a:sx n="62" d="100"/>
          <a:sy n="62" d="100"/>
        </p:scale>
        <p:origin x="79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harova, Anna" userId="30e744ff-b33d-4a6d-97a1-17fa49df0bae" providerId="ADAL" clId="{75ECAE74-A73A-4FC2-B024-95A60CAD4378}"/>
    <pc:docChg chg="custSel addSld delSld modSld sldOrd">
      <pc:chgData name="Zharova, Anna" userId="30e744ff-b33d-4a6d-97a1-17fa49df0bae" providerId="ADAL" clId="{75ECAE74-A73A-4FC2-B024-95A60CAD4378}" dt="2024-04-22T14:12:55.239" v="1104" actId="1076"/>
      <pc:docMkLst>
        <pc:docMk/>
      </pc:docMkLst>
      <pc:sldChg chg="modSp mod">
        <pc:chgData name="Zharova, Anna" userId="30e744ff-b33d-4a6d-97a1-17fa49df0bae" providerId="ADAL" clId="{75ECAE74-A73A-4FC2-B024-95A60CAD4378}" dt="2024-04-22T14:09:20.142" v="949" actId="20577"/>
        <pc:sldMkLst>
          <pc:docMk/>
          <pc:sldMk cId="4010713327" sldId="271"/>
        </pc:sldMkLst>
        <pc:spChg chg="mod">
          <ac:chgData name="Zharova, Anna" userId="30e744ff-b33d-4a6d-97a1-17fa49df0bae" providerId="ADAL" clId="{75ECAE74-A73A-4FC2-B024-95A60CAD4378}" dt="2024-04-22T13:47:17.911" v="314" actId="1076"/>
          <ac:spMkLst>
            <pc:docMk/>
            <pc:sldMk cId="4010713327" sldId="271"/>
            <ac:spMk id="8317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47:15.918" v="313" actId="1076"/>
          <ac:spMkLst>
            <pc:docMk/>
            <pc:sldMk cId="4010713327" sldId="271"/>
            <ac:spMk id="8318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9:14.710" v="943" actId="20577"/>
          <ac:spMkLst>
            <pc:docMk/>
            <pc:sldMk cId="4010713327" sldId="271"/>
            <ac:spMk id="8319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47:20.192" v="315" actId="1076"/>
          <ac:spMkLst>
            <pc:docMk/>
            <pc:sldMk cId="4010713327" sldId="271"/>
            <ac:spMk id="8320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9:20.142" v="949" actId="20577"/>
          <ac:spMkLst>
            <pc:docMk/>
            <pc:sldMk cId="4010713327" sldId="271"/>
            <ac:spMk id="8321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47:24.168" v="317" actId="1076"/>
          <ac:spMkLst>
            <pc:docMk/>
            <pc:sldMk cId="4010713327" sldId="271"/>
            <ac:spMk id="8322" creationId="{00000000-0000-0000-0000-000000000000}"/>
          </ac:spMkLst>
        </pc:spChg>
      </pc:sldChg>
      <pc:sldChg chg="addSp delSp modSp mod modAnim">
        <pc:chgData name="Zharova, Anna" userId="30e744ff-b33d-4a6d-97a1-17fa49df0bae" providerId="ADAL" clId="{75ECAE74-A73A-4FC2-B024-95A60CAD4378}" dt="2024-04-22T14:12:55.239" v="1104" actId="1076"/>
        <pc:sldMkLst>
          <pc:docMk/>
          <pc:sldMk cId="3983694809" sldId="273"/>
        </pc:sldMkLst>
        <pc:spChg chg="add mod">
          <ac:chgData name="Zharova, Anna" userId="30e744ff-b33d-4a6d-97a1-17fa49df0bae" providerId="ADAL" clId="{75ECAE74-A73A-4FC2-B024-95A60CAD4378}" dt="2024-04-22T13:50:54.914" v="610" actId="20577"/>
          <ac:spMkLst>
            <pc:docMk/>
            <pc:sldMk cId="3983694809" sldId="273"/>
            <ac:spMk id="2" creationId="{A3893B70-8447-435C-CB2B-3611D9C4D6D9}"/>
          </ac:spMkLst>
        </pc:spChg>
        <pc:spChg chg="del">
          <ac:chgData name="Zharova, Anna" userId="30e744ff-b33d-4a6d-97a1-17fa49df0bae" providerId="ADAL" clId="{75ECAE74-A73A-4FC2-B024-95A60CAD4378}" dt="2024-04-22T13:51:12.830" v="611" actId="478"/>
          <ac:spMkLst>
            <pc:docMk/>
            <pc:sldMk cId="3983694809" sldId="273"/>
            <ac:spMk id="21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50:02.775" v="494" actId="20577"/>
          <ac:spMkLst>
            <pc:docMk/>
            <pc:sldMk cId="3983694809" sldId="273"/>
            <ac:spMk id="7933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59:30.552" v="759" actId="20577"/>
          <ac:spMkLst>
            <pc:docMk/>
            <pc:sldMk cId="3983694809" sldId="273"/>
            <ac:spMk id="7936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34.310" v="1093" actId="1076"/>
          <ac:spMkLst>
            <pc:docMk/>
            <pc:sldMk cId="3983694809" sldId="273"/>
            <ac:spMk id="7937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59:58.915" v="798" actId="20577"/>
          <ac:spMkLst>
            <pc:docMk/>
            <pc:sldMk cId="3983694809" sldId="273"/>
            <ac:spMk id="7941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47.651" v="1102" actId="20577"/>
          <ac:spMkLst>
            <pc:docMk/>
            <pc:sldMk cId="3983694809" sldId="273"/>
            <ac:spMk id="7942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1:25.948" v="874" actId="20577"/>
          <ac:spMkLst>
            <pc:docMk/>
            <pc:sldMk cId="3983694809" sldId="273"/>
            <ac:spMk id="7946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55.239" v="1104" actId="1076"/>
          <ac:spMkLst>
            <pc:docMk/>
            <pc:sldMk cId="3983694809" sldId="273"/>
            <ac:spMk id="7947" creationId="{00000000-0000-0000-0000-000000000000}"/>
          </ac:spMkLst>
        </pc:spChg>
      </pc:sldChg>
      <pc:sldChg chg="del">
        <pc:chgData name="Zharova, Anna" userId="30e744ff-b33d-4a6d-97a1-17fa49df0bae" providerId="ADAL" clId="{75ECAE74-A73A-4FC2-B024-95A60CAD4378}" dt="2024-04-22T14:03:47.425" v="913" actId="47"/>
        <pc:sldMkLst>
          <pc:docMk/>
          <pc:sldMk cId="3374402853" sldId="275"/>
        </pc:sldMkLst>
      </pc:sldChg>
      <pc:sldChg chg="delSp new del mod">
        <pc:chgData name="Zharova, Anna" userId="30e744ff-b33d-4a6d-97a1-17fa49df0bae" providerId="ADAL" clId="{75ECAE74-A73A-4FC2-B024-95A60CAD4378}" dt="2024-04-22T13:40:13.018" v="3" actId="47"/>
        <pc:sldMkLst>
          <pc:docMk/>
          <pc:sldMk cId="3226094259" sldId="276"/>
        </pc:sldMkLst>
        <pc:spChg chg="del">
          <ac:chgData name="Zharova, Anna" userId="30e744ff-b33d-4a6d-97a1-17fa49df0bae" providerId="ADAL" clId="{75ECAE74-A73A-4FC2-B024-95A60CAD4378}" dt="2024-04-22T13:40:05.402" v="1" actId="21"/>
          <ac:spMkLst>
            <pc:docMk/>
            <pc:sldMk cId="3226094259" sldId="276"/>
            <ac:spMk id="2" creationId="{47DC4497-0CD3-36DD-50CC-9F2BE08C13F7}"/>
          </ac:spMkLst>
        </pc:spChg>
      </pc:sldChg>
      <pc:sldChg chg="addSp delSp modSp add mod ord modAnim">
        <pc:chgData name="Zharova, Anna" userId="30e744ff-b33d-4a6d-97a1-17fa49df0bae" providerId="ADAL" clId="{75ECAE74-A73A-4FC2-B024-95A60CAD4378}" dt="2024-04-22T14:12:27.118" v="1092" actId="20577"/>
        <pc:sldMkLst>
          <pc:docMk/>
          <pc:sldMk cId="108329603" sldId="277"/>
        </pc:sldMkLst>
        <pc:spChg chg="add mod">
          <ac:chgData name="Zharova, Anna" userId="30e744ff-b33d-4a6d-97a1-17fa49df0bae" providerId="ADAL" clId="{75ECAE74-A73A-4FC2-B024-95A60CAD4378}" dt="2024-04-22T13:50:39.860" v="588" actId="20577"/>
          <ac:spMkLst>
            <pc:docMk/>
            <pc:sldMk cId="108329603" sldId="277"/>
            <ac:spMk id="2" creationId="{50A7960C-13DA-0C8A-26D3-DBF35DA66123}"/>
          </ac:spMkLst>
        </pc:spChg>
        <pc:spChg chg="del">
          <ac:chgData name="Zharova, Anna" userId="30e744ff-b33d-4a6d-97a1-17fa49df0bae" providerId="ADAL" clId="{75ECAE74-A73A-4FC2-B024-95A60CAD4378}" dt="2024-04-22T13:42:54.793" v="254" actId="478"/>
          <ac:spMkLst>
            <pc:docMk/>
            <pc:sldMk cId="108329603" sldId="277"/>
            <ac:spMk id="21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3:49:53.438" v="479" actId="20577"/>
          <ac:spMkLst>
            <pc:docMk/>
            <pc:sldMk cId="108329603" sldId="277"/>
            <ac:spMk id="7933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2:21.431" v="880" actId="14100"/>
          <ac:spMkLst>
            <pc:docMk/>
            <pc:sldMk cId="108329603" sldId="277"/>
            <ac:spMk id="7935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2:24.247" v="881" actId="1076"/>
          <ac:spMkLst>
            <pc:docMk/>
            <pc:sldMk cId="108329603" sldId="277"/>
            <ac:spMk id="7936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06.309" v="1048" actId="1076"/>
          <ac:spMkLst>
            <pc:docMk/>
            <pc:sldMk cId="108329603" sldId="277"/>
            <ac:spMk id="7937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2:26.638" v="882" actId="14100"/>
          <ac:spMkLst>
            <pc:docMk/>
            <pc:sldMk cId="108329603" sldId="277"/>
            <ac:spMk id="7940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2:29.527" v="883" actId="1076"/>
          <ac:spMkLst>
            <pc:docMk/>
            <pc:sldMk cId="108329603" sldId="277"/>
            <ac:spMk id="7941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04.135" v="1047" actId="1076"/>
          <ac:spMkLst>
            <pc:docMk/>
            <pc:sldMk cId="108329603" sldId="277"/>
            <ac:spMk id="7942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06:43.078" v="917" actId="14100"/>
          <ac:spMkLst>
            <pc:docMk/>
            <pc:sldMk cId="108329603" sldId="277"/>
            <ac:spMk id="7945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00.166" v="1046" actId="20577"/>
          <ac:spMkLst>
            <pc:docMk/>
            <pc:sldMk cId="108329603" sldId="277"/>
            <ac:spMk id="7946" creationId="{00000000-0000-0000-0000-000000000000}"/>
          </ac:spMkLst>
        </pc:spChg>
        <pc:spChg chg="mod">
          <ac:chgData name="Zharova, Anna" userId="30e744ff-b33d-4a6d-97a1-17fa49df0bae" providerId="ADAL" clId="{75ECAE74-A73A-4FC2-B024-95A60CAD4378}" dt="2024-04-22T14:12:27.118" v="1092" actId="20577"/>
          <ac:spMkLst>
            <pc:docMk/>
            <pc:sldMk cId="108329603" sldId="277"/>
            <ac:spMk id="7947" creationId="{00000000-0000-0000-0000-000000000000}"/>
          </ac:spMkLst>
        </pc:spChg>
      </pc:sldChg>
      <pc:sldMasterChg chg="delSldLayout">
        <pc:chgData name="Zharova, Anna" userId="30e744ff-b33d-4a6d-97a1-17fa49df0bae" providerId="ADAL" clId="{75ECAE74-A73A-4FC2-B024-95A60CAD4378}" dt="2024-04-22T14:03:47.425" v="913" actId="47"/>
        <pc:sldMasterMkLst>
          <pc:docMk/>
          <pc:sldMasterMk cId="3606874928" sldId="2147483740"/>
        </pc:sldMasterMkLst>
        <pc:sldLayoutChg chg="del">
          <pc:chgData name="Zharova, Anna" userId="30e744ff-b33d-4a6d-97a1-17fa49df0bae" providerId="ADAL" clId="{75ECAE74-A73A-4FC2-B024-95A60CAD4378}" dt="2024-04-22T13:40:13.018" v="3" actId="47"/>
          <pc:sldLayoutMkLst>
            <pc:docMk/>
            <pc:sldMasterMk cId="3606874928" sldId="2147483740"/>
            <pc:sldLayoutMk cId="1406364172" sldId="2147483744"/>
          </pc:sldLayoutMkLst>
        </pc:sldLayoutChg>
        <pc:sldLayoutChg chg="del">
          <pc:chgData name="Zharova, Anna" userId="30e744ff-b33d-4a6d-97a1-17fa49df0bae" providerId="ADAL" clId="{75ECAE74-A73A-4FC2-B024-95A60CAD4378}" dt="2024-04-22T14:03:47.425" v="913" actId="47"/>
          <pc:sldLayoutMkLst>
            <pc:docMk/>
            <pc:sldMasterMk cId="3606874928" sldId="2147483740"/>
            <pc:sldLayoutMk cId="3278163465" sldId="2147483767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06E162-E89B-4023-A182-A1272D0486E8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A6BC62-9E64-4CB5-9BA5-0A303C86F3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897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ite2max.pro" TargetMode="External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5" Type="http://schemas.openxmlformats.org/officeDocument/2006/relationships/image" Target="../media/image14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5" Type="http://schemas.openxmlformats.org/officeDocument/2006/relationships/image" Target="../media/image15.png"/><Relationship Id="rId4" Type="http://schemas.openxmlformats.org/officeDocument/2006/relationships/image" Target="../media/image3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5" Type="http://schemas.openxmlformats.org/officeDocument/2006/relationships/image" Target="../media/image16.png"/><Relationship Id="rId4" Type="http://schemas.openxmlformats.org/officeDocument/2006/relationships/image" Target="../media/image3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5" Type="http://schemas.openxmlformats.org/officeDocument/2006/relationships/image" Target="../media/image17.png"/><Relationship Id="rId4" Type="http://schemas.openxmlformats.org/officeDocument/2006/relationships/image" Target="../media/image3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5" Type="http://schemas.openxmlformats.org/officeDocument/2006/relationships/image" Target="../media/image17.png"/><Relationship Id="rId4" Type="http://schemas.openxmlformats.org/officeDocument/2006/relationships/image" Target="../media/image3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Relationship Id="rId5" Type="http://schemas.openxmlformats.org/officeDocument/2006/relationships/image" Target="../media/image18.png"/><Relationship Id="rId4" Type="http://schemas.openxmlformats.org/officeDocument/2006/relationships/image" Target="../media/image3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Relationship Id="rId5" Type="http://schemas.openxmlformats.org/officeDocument/2006/relationships/image" Target="../media/image19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5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20.emf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20.emf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20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20.emf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20.emf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3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7" Type="http://schemas.openxmlformats.org/officeDocument/2006/relationships/image" Target="../media/image20.emf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7" Type="http://schemas.openxmlformats.org/officeDocument/2006/relationships/image" Target="../media/image20.emf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20.emf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20.emf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3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image" Target="../media/image20.emf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3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20.emf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3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7" Type="http://schemas.openxmlformats.org/officeDocument/2006/relationships/image" Target="../media/image20.emf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20.emf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3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20.emf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7" Type="http://schemas.openxmlformats.org/officeDocument/2006/relationships/image" Target="../media/image20.emf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3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20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3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20.emf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20.emf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3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7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8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9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1.bin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7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8.xml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9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0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3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4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5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6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8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9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0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1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2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3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4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5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3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3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3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3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3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4.xml"/><Relationship Id="rId4" Type="http://schemas.openxmlformats.org/officeDocument/2006/relationships/image" Target="../media/image2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10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7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9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5" Type="http://schemas.openxmlformats.org/officeDocument/2006/relationships/image" Target="../media/image11.png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879" cy="6863992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</p:spTree>
    <p:extLst>
      <p:ext uri="{BB962C8B-B14F-4D97-AF65-F5344CB8AC3E}">
        <p14:creationId xmlns:p14="http://schemas.microsoft.com/office/powerpoint/2010/main" val="4245880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100000">
              <a:srgbClr val="A873A9"/>
            </a:gs>
            <a:gs pos="18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14302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Shape 222"/>
          <p:cNvSpPr>
            <a:spLocks noGrp="1"/>
          </p:cNvSpPr>
          <p:nvPr>
            <p:ph type="pic" sz="quarter" idx="13"/>
          </p:nvPr>
        </p:nvSpPr>
        <p:spPr>
          <a:xfrm>
            <a:off x="1466116" y="1210081"/>
            <a:ext cx="1748953" cy="193018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23" name="Shape 22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9301953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Shape 237"/>
          <p:cNvSpPr>
            <a:spLocks noGrp="1"/>
          </p:cNvSpPr>
          <p:nvPr>
            <p:ph type="pic" sz="quarter" idx="13"/>
          </p:nvPr>
        </p:nvSpPr>
        <p:spPr>
          <a:xfrm>
            <a:off x="1448274" y="1867767"/>
            <a:ext cx="2536426" cy="30950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38" name="Shape 23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6742652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Shape 245"/>
          <p:cNvSpPr>
            <a:spLocks noGrp="1"/>
          </p:cNvSpPr>
          <p:nvPr>
            <p:ph type="pic" sz="quarter" idx="13"/>
          </p:nvPr>
        </p:nvSpPr>
        <p:spPr>
          <a:xfrm>
            <a:off x="1498019" y="1105036"/>
            <a:ext cx="3578277" cy="466815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46" name="Shape 24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2791534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" name="Shape 253"/>
          <p:cNvSpPr>
            <a:spLocks noGrp="1"/>
          </p:cNvSpPr>
          <p:nvPr>
            <p:ph type="pic" sz="half" idx="13"/>
          </p:nvPr>
        </p:nvSpPr>
        <p:spPr>
          <a:xfrm>
            <a:off x="1078828" y="955927"/>
            <a:ext cx="3622954" cy="498607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54" name="Shape 25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5014077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Shape 261"/>
          <p:cNvSpPr>
            <a:spLocks noGrp="1"/>
          </p:cNvSpPr>
          <p:nvPr>
            <p:ph type="pic" sz="half" idx="13"/>
          </p:nvPr>
        </p:nvSpPr>
        <p:spPr>
          <a:xfrm>
            <a:off x="-1765854" y="1176415"/>
            <a:ext cx="5911133" cy="445940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62" name="Shape 26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358637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" name="Shape 269"/>
          <p:cNvSpPr>
            <a:spLocks noGrp="1"/>
          </p:cNvSpPr>
          <p:nvPr>
            <p:ph type="pic" sz="quarter" idx="13"/>
          </p:nvPr>
        </p:nvSpPr>
        <p:spPr>
          <a:xfrm rot="1111989">
            <a:off x="2908648" y="4191642"/>
            <a:ext cx="1987206" cy="350184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70" name="Shape 270"/>
          <p:cNvSpPr>
            <a:spLocks noGrp="1"/>
          </p:cNvSpPr>
          <p:nvPr>
            <p:ph type="pic" sz="quarter" idx="14"/>
          </p:nvPr>
        </p:nvSpPr>
        <p:spPr>
          <a:xfrm rot="1111989">
            <a:off x="4419665" y="-424499"/>
            <a:ext cx="1987206" cy="350184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71" name="Shape 271"/>
          <p:cNvSpPr>
            <a:spLocks noGrp="1"/>
          </p:cNvSpPr>
          <p:nvPr>
            <p:ph type="pic" sz="quarter" idx="15"/>
          </p:nvPr>
        </p:nvSpPr>
        <p:spPr>
          <a:xfrm rot="1111989">
            <a:off x="1212172" y="1640897"/>
            <a:ext cx="1987206" cy="350184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72" name="Shape 27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3177389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Shape 279"/>
          <p:cNvSpPr>
            <a:spLocks noGrp="1"/>
          </p:cNvSpPr>
          <p:nvPr>
            <p:ph type="pic" sz="half" idx="13"/>
          </p:nvPr>
        </p:nvSpPr>
        <p:spPr>
          <a:xfrm>
            <a:off x="-1143291" y="1529220"/>
            <a:ext cx="5912656" cy="32800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80" name="Shape 28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0870430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Shape 287"/>
          <p:cNvSpPr>
            <a:spLocks noGrp="1"/>
          </p:cNvSpPr>
          <p:nvPr>
            <p:ph type="pic" sz="quarter" idx="13"/>
          </p:nvPr>
        </p:nvSpPr>
        <p:spPr>
          <a:xfrm>
            <a:off x="1169913" y="2643646"/>
            <a:ext cx="1394461" cy="16290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88" name="Shape 288"/>
          <p:cNvSpPr>
            <a:spLocks noGrp="1"/>
          </p:cNvSpPr>
          <p:nvPr>
            <p:ph type="pic" sz="quarter" idx="14"/>
          </p:nvPr>
        </p:nvSpPr>
        <p:spPr>
          <a:xfrm>
            <a:off x="9897337" y="2643645"/>
            <a:ext cx="1305004" cy="16290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89" name="Shape 289"/>
          <p:cNvSpPr>
            <a:spLocks noGrp="1"/>
          </p:cNvSpPr>
          <p:nvPr>
            <p:ph type="pic" sz="quarter" idx="15"/>
          </p:nvPr>
        </p:nvSpPr>
        <p:spPr>
          <a:xfrm>
            <a:off x="7253600" y="2643234"/>
            <a:ext cx="1072384" cy="162983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0" name="Shape 290"/>
          <p:cNvSpPr>
            <a:spLocks noGrp="1"/>
          </p:cNvSpPr>
          <p:nvPr>
            <p:ph type="pic" sz="quarter" idx="16"/>
          </p:nvPr>
        </p:nvSpPr>
        <p:spPr>
          <a:xfrm>
            <a:off x="4233624" y="2624124"/>
            <a:ext cx="1407520" cy="166805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1" name="Shape 291"/>
          <p:cNvSpPr>
            <a:spLocks noGrp="1"/>
          </p:cNvSpPr>
          <p:nvPr>
            <p:ph type="pic" sz="quarter" idx="17"/>
          </p:nvPr>
        </p:nvSpPr>
        <p:spPr>
          <a:xfrm>
            <a:off x="1154018" y="521579"/>
            <a:ext cx="1426254" cy="162901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2" name="Shape 292"/>
          <p:cNvSpPr>
            <a:spLocks noGrp="1"/>
          </p:cNvSpPr>
          <p:nvPr>
            <p:ph type="pic" sz="quarter" idx="18"/>
          </p:nvPr>
        </p:nvSpPr>
        <p:spPr>
          <a:xfrm>
            <a:off x="9990487" y="521581"/>
            <a:ext cx="1118705" cy="162901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3" name="Shape 293"/>
          <p:cNvSpPr>
            <a:spLocks noGrp="1"/>
          </p:cNvSpPr>
          <p:nvPr>
            <p:ph type="pic" sz="quarter" idx="19"/>
          </p:nvPr>
        </p:nvSpPr>
        <p:spPr>
          <a:xfrm>
            <a:off x="7216819" y="521373"/>
            <a:ext cx="1145945" cy="16294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4" name="Shape 294"/>
          <p:cNvSpPr>
            <a:spLocks noGrp="1"/>
          </p:cNvSpPr>
          <p:nvPr>
            <p:ph type="pic" sz="quarter" idx="20"/>
          </p:nvPr>
        </p:nvSpPr>
        <p:spPr>
          <a:xfrm>
            <a:off x="4510709" y="520565"/>
            <a:ext cx="938909" cy="16310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5" name="Shape 295"/>
          <p:cNvSpPr>
            <a:spLocks noGrp="1"/>
          </p:cNvSpPr>
          <p:nvPr>
            <p:ph type="pic" sz="quarter" idx="21"/>
          </p:nvPr>
        </p:nvSpPr>
        <p:spPr>
          <a:xfrm>
            <a:off x="1274329" y="4704081"/>
            <a:ext cx="1185630" cy="166805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6" name="Shape 296"/>
          <p:cNvSpPr>
            <a:spLocks noGrp="1"/>
          </p:cNvSpPr>
          <p:nvPr>
            <p:ph type="pic" sz="quarter" idx="22"/>
          </p:nvPr>
        </p:nvSpPr>
        <p:spPr>
          <a:xfrm>
            <a:off x="10309886" y="4748403"/>
            <a:ext cx="479906" cy="163104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7" name="Shape 297"/>
          <p:cNvSpPr>
            <a:spLocks noGrp="1"/>
          </p:cNvSpPr>
          <p:nvPr>
            <p:ph type="pic" sz="quarter" idx="23"/>
          </p:nvPr>
        </p:nvSpPr>
        <p:spPr>
          <a:xfrm>
            <a:off x="7177062" y="4745442"/>
            <a:ext cx="1225459" cy="163696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8" name="Shape 298"/>
          <p:cNvSpPr>
            <a:spLocks noGrp="1"/>
          </p:cNvSpPr>
          <p:nvPr>
            <p:ph type="pic" sz="quarter" idx="24"/>
          </p:nvPr>
        </p:nvSpPr>
        <p:spPr>
          <a:xfrm>
            <a:off x="4368432" y="4749667"/>
            <a:ext cx="1223463" cy="16285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99" name="Shape 29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9023762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Shape 306"/>
          <p:cNvSpPr>
            <a:spLocks noGrp="1"/>
          </p:cNvSpPr>
          <p:nvPr>
            <p:ph type="pic" sz="quarter" idx="13"/>
          </p:nvPr>
        </p:nvSpPr>
        <p:spPr>
          <a:xfrm>
            <a:off x="1288471" y="2535656"/>
            <a:ext cx="1101746" cy="160517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07" name="Shape 307"/>
          <p:cNvSpPr>
            <a:spLocks noGrp="1"/>
          </p:cNvSpPr>
          <p:nvPr>
            <p:ph type="pic" sz="quarter" idx="14"/>
          </p:nvPr>
        </p:nvSpPr>
        <p:spPr>
          <a:xfrm>
            <a:off x="9602658" y="4683969"/>
            <a:ext cx="1326852" cy="16310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08" name="Shape 308"/>
          <p:cNvSpPr>
            <a:spLocks noGrp="1"/>
          </p:cNvSpPr>
          <p:nvPr>
            <p:ph type="pic" sz="quarter" idx="15"/>
          </p:nvPr>
        </p:nvSpPr>
        <p:spPr>
          <a:xfrm>
            <a:off x="6767704" y="4684981"/>
            <a:ext cx="1224364" cy="16290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09" name="Shape 309"/>
          <p:cNvSpPr>
            <a:spLocks noGrp="1"/>
          </p:cNvSpPr>
          <p:nvPr>
            <p:ph type="pic" sz="quarter" idx="16"/>
          </p:nvPr>
        </p:nvSpPr>
        <p:spPr>
          <a:xfrm>
            <a:off x="3954429" y="2523797"/>
            <a:ext cx="1303010" cy="162888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0" name="Shape 310"/>
          <p:cNvSpPr>
            <a:spLocks noGrp="1"/>
          </p:cNvSpPr>
          <p:nvPr>
            <p:ph type="pic" sz="quarter" idx="17"/>
          </p:nvPr>
        </p:nvSpPr>
        <p:spPr>
          <a:xfrm>
            <a:off x="1239534" y="4681990"/>
            <a:ext cx="1199618" cy="163499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1" name="Shape 311"/>
          <p:cNvSpPr>
            <a:spLocks noGrp="1"/>
          </p:cNvSpPr>
          <p:nvPr>
            <p:ph type="pic" sz="quarter" idx="18"/>
          </p:nvPr>
        </p:nvSpPr>
        <p:spPr>
          <a:xfrm>
            <a:off x="9580777" y="2522720"/>
            <a:ext cx="1370615" cy="16310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2" name="Shape 312"/>
          <p:cNvSpPr>
            <a:spLocks noGrp="1"/>
          </p:cNvSpPr>
          <p:nvPr>
            <p:ph type="pic" sz="quarter" idx="19"/>
          </p:nvPr>
        </p:nvSpPr>
        <p:spPr>
          <a:xfrm>
            <a:off x="6664765" y="2522720"/>
            <a:ext cx="1430244" cy="16310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3" name="Shape 313"/>
          <p:cNvSpPr>
            <a:spLocks noGrp="1"/>
          </p:cNvSpPr>
          <p:nvPr>
            <p:ph type="pic" sz="quarter" idx="20"/>
          </p:nvPr>
        </p:nvSpPr>
        <p:spPr>
          <a:xfrm>
            <a:off x="4007122" y="4668087"/>
            <a:ext cx="1197624" cy="166280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4" name="Shape 314"/>
          <p:cNvSpPr>
            <a:spLocks noGrp="1"/>
          </p:cNvSpPr>
          <p:nvPr>
            <p:ph type="pic" sz="quarter" idx="21"/>
          </p:nvPr>
        </p:nvSpPr>
        <p:spPr>
          <a:xfrm>
            <a:off x="1144107" y="390605"/>
            <a:ext cx="1390473" cy="16310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5" name="Shape 315"/>
          <p:cNvSpPr>
            <a:spLocks noGrp="1"/>
          </p:cNvSpPr>
          <p:nvPr>
            <p:ph type="pic" sz="quarter" idx="22"/>
          </p:nvPr>
        </p:nvSpPr>
        <p:spPr>
          <a:xfrm>
            <a:off x="9536048" y="390605"/>
            <a:ext cx="1460074" cy="16310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6" name="Shape 316"/>
          <p:cNvSpPr>
            <a:spLocks noGrp="1"/>
          </p:cNvSpPr>
          <p:nvPr>
            <p:ph type="pic" sz="quarter" idx="23"/>
          </p:nvPr>
        </p:nvSpPr>
        <p:spPr>
          <a:xfrm>
            <a:off x="6748267" y="392615"/>
            <a:ext cx="1263237" cy="162701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7" name="Shape 317"/>
          <p:cNvSpPr>
            <a:spLocks noGrp="1"/>
          </p:cNvSpPr>
          <p:nvPr>
            <p:ph type="pic" sz="quarter" idx="24"/>
          </p:nvPr>
        </p:nvSpPr>
        <p:spPr>
          <a:xfrm>
            <a:off x="3939514" y="406516"/>
            <a:ext cx="1332839" cy="159921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18" name="Shape 31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9127468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Shape 325"/>
          <p:cNvSpPr>
            <a:spLocks noGrp="1"/>
          </p:cNvSpPr>
          <p:nvPr>
            <p:ph type="pic" idx="13"/>
          </p:nvPr>
        </p:nvSpPr>
        <p:spPr>
          <a:xfrm>
            <a:off x="629297" y="429366"/>
            <a:ext cx="11228109" cy="326146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26" name="Shape 32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211522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orange">
    <p:bg>
      <p:bgPr>
        <a:gradFill>
          <a:gsLst>
            <a:gs pos="0">
              <a:srgbClr val="983222"/>
            </a:gs>
            <a:gs pos="100000">
              <a:srgbClr val="E983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561"/>
            <a:ext cx="12182071" cy="68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522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Shape 333"/>
          <p:cNvSpPr>
            <a:spLocks noGrp="1"/>
          </p:cNvSpPr>
          <p:nvPr>
            <p:ph type="pic" idx="13"/>
          </p:nvPr>
        </p:nvSpPr>
        <p:spPr>
          <a:xfrm>
            <a:off x="182953" y="222452"/>
            <a:ext cx="7288032" cy="621929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34" name="Shape 33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98982448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Shape 341"/>
          <p:cNvSpPr>
            <a:spLocks noGrp="1"/>
          </p:cNvSpPr>
          <p:nvPr>
            <p:ph type="pic" idx="13"/>
          </p:nvPr>
        </p:nvSpPr>
        <p:spPr>
          <a:xfrm>
            <a:off x="0" y="-1"/>
            <a:ext cx="12192000" cy="318052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42" name="Shape 34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2935667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Shape 349"/>
          <p:cNvSpPr>
            <a:spLocks noGrp="1"/>
          </p:cNvSpPr>
          <p:nvPr>
            <p:ph type="pic" sz="quarter" idx="13"/>
          </p:nvPr>
        </p:nvSpPr>
        <p:spPr>
          <a:xfrm>
            <a:off x="742950" y="467536"/>
            <a:ext cx="2800350" cy="283287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50" name="Shape 350"/>
          <p:cNvSpPr>
            <a:spLocks noGrp="1"/>
          </p:cNvSpPr>
          <p:nvPr>
            <p:ph type="pic" sz="quarter" idx="14"/>
          </p:nvPr>
        </p:nvSpPr>
        <p:spPr>
          <a:xfrm>
            <a:off x="6486525" y="3647818"/>
            <a:ext cx="2800350" cy="283287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51" name="Shape 351"/>
          <p:cNvSpPr>
            <a:spLocks noGrp="1"/>
          </p:cNvSpPr>
          <p:nvPr>
            <p:ph type="pic" sz="quarter" idx="15"/>
          </p:nvPr>
        </p:nvSpPr>
        <p:spPr>
          <a:xfrm>
            <a:off x="6486525" y="467536"/>
            <a:ext cx="2800350" cy="283287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52" name="Shape 352"/>
          <p:cNvSpPr>
            <a:spLocks noGrp="1"/>
          </p:cNvSpPr>
          <p:nvPr>
            <p:ph type="pic" sz="quarter" idx="16"/>
          </p:nvPr>
        </p:nvSpPr>
        <p:spPr>
          <a:xfrm>
            <a:off x="742950" y="3647818"/>
            <a:ext cx="2800350" cy="283287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53" name="Shape 35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9009989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" name="Shape 360"/>
          <p:cNvSpPr>
            <a:spLocks noGrp="1"/>
          </p:cNvSpPr>
          <p:nvPr>
            <p:ph type="pic" sz="quarter" idx="13"/>
          </p:nvPr>
        </p:nvSpPr>
        <p:spPr>
          <a:xfrm>
            <a:off x="506574" y="2214563"/>
            <a:ext cx="2486026" cy="28244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61" name="Shape 361"/>
          <p:cNvSpPr>
            <a:spLocks noGrp="1"/>
          </p:cNvSpPr>
          <p:nvPr>
            <p:ph type="pic" sz="quarter" idx="14"/>
          </p:nvPr>
        </p:nvSpPr>
        <p:spPr>
          <a:xfrm>
            <a:off x="9191451" y="2214563"/>
            <a:ext cx="2486026" cy="28244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62" name="Shape 362"/>
          <p:cNvSpPr>
            <a:spLocks noGrp="1"/>
          </p:cNvSpPr>
          <p:nvPr>
            <p:ph type="pic" sz="quarter" idx="15"/>
          </p:nvPr>
        </p:nvSpPr>
        <p:spPr>
          <a:xfrm>
            <a:off x="6296493" y="2214563"/>
            <a:ext cx="2486026" cy="28244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63" name="Shape 363"/>
          <p:cNvSpPr>
            <a:spLocks noGrp="1"/>
          </p:cNvSpPr>
          <p:nvPr>
            <p:ph type="pic" sz="quarter" idx="16"/>
          </p:nvPr>
        </p:nvSpPr>
        <p:spPr>
          <a:xfrm>
            <a:off x="3401533" y="2214563"/>
            <a:ext cx="2486026" cy="28244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64" name="Shape 36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9371775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Shape 371"/>
          <p:cNvSpPr>
            <a:spLocks noGrp="1"/>
          </p:cNvSpPr>
          <p:nvPr>
            <p:ph type="pic" sz="quarter" idx="13"/>
          </p:nvPr>
        </p:nvSpPr>
        <p:spPr>
          <a:xfrm>
            <a:off x="552450" y="2471739"/>
            <a:ext cx="2541135" cy="358616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72" name="Shape 372"/>
          <p:cNvSpPr>
            <a:spLocks noGrp="1"/>
          </p:cNvSpPr>
          <p:nvPr>
            <p:ph type="pic" sz="quarter" idx="14"/>
          </p:nvPr>
        </p:nvSpPr>
        <p:spPr>
          <a:xfrm>
            <a:off x="6303169" y="2471739"/>
            <a:ext cx="2541135" cy="358616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73" name="Shape 37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5561267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Shape 380"/>
          <p:cNvSpPr>
            <a:spLocks noGrp="1"/>
          </p:cNvSpPr>
          <p:nvPr>
            <p:ph type="pic" sz="quarter" idx="13"/>
          </p:nvPr>
        </p:nvSpPr>
        <p:spPr>
          <a:xfrm>
            <a:off x="418136" y="2051547"/>
            <a:ext cx="3526973" cy="2286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81" name="Shape 381"/>
          <p:cNvSpPr>
            <a:spLocks noGrp="1"/>
          </p:cNvSpPr>
          <p:nvPr>
            <p:ph type="pic" sz="quarter" idx="14"/>
          </p:nvPr>
        </p:nvSpPr>
        <p:spPr>
          <a:xfrm>
            <a:off x="8246895" y="2051547"/>
            <a:ext cx="3526972" cy="2286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82" name="Shape 382"/>
          <p:cNvSpPr>
            <a:spLocks noGrp="1"/>
          </p:cNvSpPr>
          <p:nvPr>
            <p:ph type="pic" sz="quarter" idx="15"/>
          </p:nvPr>
        </p:nvSpPr>
        <p:spPr>
          <a:xfrm>
            <a:off x="4332516" y="2051547"/>
            <a:ext cx="3526972" cy="2286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83" name="Shape 38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9846956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Shape 390"/>
          <p:cNvSpPr>
            <a:spLocks noGrp="1"/>
          </p:cNvSpPr>
          <p:nvPr>
            <p:ph type="pic" sz="quarter" idx="13"/>
          </p:nvPr>
        </p:nvSpPr>
        <p:spPr>
          <a:xfrm>
            <a:off x="6944139" y="1371020"/>
            <a:ext cx="1417983" cy="156491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91" name="Shape 391"/>
          <p:cNvSpPr>
            <a:spLocks noGrp="1"/>
          </p:cNvSpPr>
          <p:nvPr>
            <p:ph type="pic" sz="quarter" idx="14"/>
          </p:nvPr>
        </p:nvSpPr>
        <p:spPr>
          <a:xfrm>
            <a:off x="9568070" y="1371020"/>
            <a:ext cx="1417983" cy="156491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92" name="Shape 392"/>
          <p:cNvSpPr>
            <a:spLocks noGrp="1"/>
          </p:cNvSpPr>
          <p:nvPr>
            <p:ph type="pic" sz="quarter" idx="15"/>
          </p:nvPr>
        </p:nvSpPr>
        <p:spPr>
          <a:xfrm>
            <a:off x="4320209" y="1371020"/>
            <a:ext cx="1417983" cy="156491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393" name="Shape 39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5774643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" name="Shape 400"/>
          <p:cNvSpPr>
            <a:spLocks noGrp="1"/>
          </p:cNvSpPr>
          <p:nvPr>
            <p:ph type="pic" sz="quarter" idx="13"/>
          </p:nvPr>
        </p:nvSpPr>
        <p:spPr>
          <a:xfrm>
            <a:off x="5297475" y="2756451"/>
            <a:ext cx="1597052" cy="17625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01" name="Shape 401"/>
          <p:cNvSpPr>
            <a:spLocks noGrp="1"/>
          </p:cNvSpPr>
          <p:nvPr>
            <p:ph type="pic" sz="quarter" idx="14"/>
          </p:nvPr>
        </p:nvSpPr>
        <p:spPr>
          <a:xfrm>
            <a:off x="8829179" y="2756451"/>
            <a:ext cx="1597052" cy="17625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02" name="Shape 402"/>
          <p:cNvSpPr>
            <a:spLocks noGrp="1"/>
          </p:cNvSpPr>
          <p:nvPr>
            <p:ph type="pic" sz="quarter" idx="15"/>
          </p:nvPr>
        </p:nvSpPr>
        <p:spPr>
          <a:xfrm>
            <a:off x="1765771" y="2756451"/>
            <a:ext cx="1597052" cy="17625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03" name="Shape 40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317786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Shape 410"/>
          <p:cNvSpPr>
            <a:spLocks noGrp="1"/>
          </p:cNvSpPr>
          <p:nvPr>
            <p:ph type="pic" sz="quarter" idx="13"/>
          </p:nvPr>
        </p:nvSpPr>
        <p:spPr>
          <a:xfrm>
            <a:off x="4931416" y="676258"/>
            <a:ext cx="2329173" cy="257052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11" name="Shape 41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5602758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" name="Shape 418"/>
          <p:cNvSpPr>
            <a:spLocks noGrp="1"/>
          </p:cNvSpPr>
          <p:nvPr>
            <p:ph type="pic" sz="quarter" idx="13"/>
          </p:nvPr>
        </p:nvSpPr>
        <p:spPr>
          <a:xfrm>
            <a:off x="5297475" y="2703444"/>
            <a:ext cx="1597052" cy="17625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19" name="Shape 419"/>
          <p:cNvSpPr>
            <a:spLocks noGrp="1"/>
          </p:cNvSpPr>
          <p:nvPr>
            <p:ph type="pic" sz="quarter" idx="14"/>
          </p:nvPr>
        </p:nvSpPr>
        <p:spPr>
          <a:xfrm>
            <a:off x="8829178" y="2703444"/>
            <a:ext cx="1597052" cy="17625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20" name="Shape 420"/>
          <p:cNvSpPr>
            <a:spLocks noGrp="1"/>
          </p:cNvSpPr>
          <p:nvPr>
            <p:ph type="pic" sz="quarter" idx="15"/>
          </p:nvPr>
        </p:nvSpPr>
        <p:spPr>
          <a:xfrm>
            <a:off x="1765769" y="2703444"/>
            <a:ext cx="1597052" cy="17625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21" name="Shape 42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286786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orange">
    <p:bg>
      <p:bgPr>
        <a:gradFill>
          <a:gsLst>
            <a:gs pos="15000">
              <a:srgbClr val="E98300"/>
            </a:gs>
            <a:gs pos="100000">
              <a:srgbClr val="EEAF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561"/>
            <a:ext cx="12182071" cy="685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04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Shape 428"/>
          <p:cNvSpPr>
            <a:spLocks noGrp="1"/>
          </p:cNvSpPr>
          <p:nvPr>
            <p:ph type="pic" sz="quarter" idx="13"/>
          </p:nvPr>
        </p:nvSpPr>
        <p:spPr>
          <a:xfrm>
            <a:off x="1251485" y="1101909"/>
            <a:ext cx="3803904" cy="15443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29" name="Shape 429"/>
          <p:cNvSpPr>
            <a:spLocks noGrp="1"/>
          </p:cNvSpPr>
          <p:nvPr>
            <p:ph type="pic" sz="quarter" idx="14"/>
          </p:nvPr>
        </p:nvSpPr>
        <p:spPr>
          <a:xfrm>
            <a:off x="7136611" y="1796364"/>
            <a:ext cx="3803905" cy="15443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30" name="Shape 43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7398365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7" name="Shape 437"/>
          <p:cNvSpPr>
            <a:spLocks noGrp="1"/>
          </p:cNvSpPr>
          <p:nvPr>
            <p:ph type="pic" sz="quarter" idx="13"/>
          </p:nvPr>
        </p:nvSpPr>
        <p:spPr>
          <a:xfrm>
            <a:off x="1251485" y="2297664"/>
            <a:ext cx="3803904" cy="15443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38" name="Shape 438"/>
          <p:cNvSpPr>
            <a:spLocks noGrp="1"/>
          </p:cNvSpPr>
          <p:nvPr>
            <p:ph type="pic" sz="quarter" idx="14"/>
          </p:nvPr>
        </p:nvSpPr>
        <p:spPr>
          <a:xfrm>
            <a:off x="7136611" y="2992118"/>
            <a:ext cx="3803905" cy="15443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39" name="Shape 43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3277571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Shape 446"/>
          <p:cNvSpPr>
            <a:spLocks noGrp="1"/>
          </p:cNvSpPr>
          <p:nvPr>
            <p:ph type="pic" sz="quarter" idx="13"/>
          </p:nvPr>
        </p:nvSpPr>
        <p:spPr>
          <a:xfrm>
            <a:off x="1251485" y="2508679"/>
            <a:ext cx="3803904" cy="15443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47" name="Shape 447"/>
          <p:cNvSpPr>
            <a:spLocks noGrp="1"/>
          </p:cNvSpPr>
          <p:nvPr>
            <p:ph type="pic" sz="quarter" idx="14"/>
          </p:nvPr>
        </p:nvSpPr>
        <p:spPr>
          <a:xfrm>
            <a:off x="7136611" y="3203133"/>
            <a:ext cx="3803905" cy="15443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48" name="Shape 44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9663950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" name="Shape 455"/>
          <p:cNvSpPr>
            <a:spLocks noGrp="1"/>
          </p:cNvSpPr>
          <p:nvPr>
            <p:ph type="pic" sz="quarter" idx="13"/>
          </p:nvPr>
        </p:nvSpPr>
        <p:spPr>
          <a:xfrm>
            <a:off x="838081" y="3838886"/>
            <a:ext cx="3021497" cy="253116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56" name="Shape 456"/>
          <p:cNvSpPr>
            <a:spLocks noGrp="1"/>
          </p:cNvSpPr>
          <p:nvPr>
            <p:ph type="pic" sz="quarter" idx="14"/>
          </p:nvPr>
        </p:nvSpPr>
        <p:spPr>
          <a:xfrm>
            <a:off x="3632430" y="3282296"/>
            <a:ext cx="3021497" cy="253116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57" name="Shape 457"/>
          <p:cNvSpPr>
            <a:spLocks noGrp="1"/>
          </p:cNvSpPr>
          <p:nvPr>
            <p:ph type="pic" sz="quarter" idx="15"/>
          </p:nvPr>
        </p:nvSpPr>
        <p:spPr>
          <a:xfrm>
            <a:off x="1474186" y="1044540"/>
            <a:ext cx="3021496" cy="253116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58" name="Shape 458"/>
          <p:cNvSpPr>
            <a:spLocks noGrp="1"/>
          </p:cNvSpPr>
          <p:nvPr>
            <p:ph type="pic" sz="quarter" idx="16"/>
          </p:nvPr>
        </p:nvSpPr>
        <p:spPr>
          <a:xfrm>
            <a:off x="4268535" y="487948"/>
            <a:ext cx="3021496" cy="253116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59" name="Shape 45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8860430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Shape 466"/>
          <p:cNvSpPr>
            <a:spLocks noGrp="1"/>
          </p:cNvSpPr>
          <p:nvPr>
            <p:ph type="pic" sz="half" idx="13"/>
          </p:nvPr>
        </p:nvSpPr>
        <p:spPr>
          <a:xfrm>
            <a:off x="119061" y="3429000"/>
            <a:ext cx="5976940" cy="332898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67" name="Shape 467"/>
          <p:cNvSpPr>
            <a:spLocks noGrp="1"/>
          </p:cNvSpPr>
          <p:nvPr>
            <p:ph type="pic" sz="half" idx="14"/>
          </p:nvPr>
        </p:nvSpPr>
        <p:spPr>
          <a:xfrm>
            <a:off x="6096000" y="100012"/>
            <a:ext cx="5976939" cy="33289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68" name="Shape 46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1452847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" name="Shape 475"/>
          <p:cNvSpPr>
            <a:spLocks noGrp="1"/>
          </p:cNvSpPr>
          <p:nvPr>
            <p:ph type="pic" idx="13"/>
          </p:nvPr>
        </p:nvSpPr>
        <p:spPr>
          <a:xfrm>
            <a:off x="133350" y="150018"/>
            <a:ext cx="5829300" cy="655796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76" name="Shape 47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73882202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" name="Shape 483"/>
          <p:cNvSpPr>
            <a:spLocks noGrp="1"/>
          </p:cNvSpPr>
          <p:nvPr>
            <p:ph type="pic" sz="quarter" idx="13"/>
          </p:nvPr>
        </p:nvSpPr>
        <p:spPr>
          <a:xfrm>
            <a:off x="4268594" y="2378872"/>
            <a:ext cx="3654812" cy="19573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4" name="Shape 484"/>
          <p:cNvSpPr>
            <a:spLocks noGrp="1"/>
          </p:cNvSpPr>
          <p:nvPr>
            <p:ph type="pic" sz="quarter" idx="14"/>
          </p:nvPr>
        </p:nvSpPr>
        <p:spPr>
          <a:xfrm>
            <a:off x="8061925" y="2378872"/>
            <a:ext cx="3654812" cy="19573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5" name="Shape 485"/>
          <p:cNvSpPr>
            <a:spLocks noGrp="1"/>
          </p:cNvSpPr>
          <p:nvPr>
            <p:ph type="pic" sz="quarter" idx="15"/>
          </p:nvPr>
        </p:nvSpPr>
        <p:spPr>
          <a:xfrm>
            <a:off x="475264" y="2378872"/>
            <a:ext cx="3654812" cy="19573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6" name="Shape 486"/>
          <p:cNvSpPr>
            <a:spLocks noGrp="1"/>
          </p:cNvSpPr>
          <p:nvPr>
            <p:ph type="pic" sz="quarter" idx="16"/>
          </p:nvPr>
        </p:nvSpPr>
        <p:spPr>
          <a:xfrm>
            <a:off x="475264" y="4479130"/>
            <a:ext cx="3654812" cy="19573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7" name="Shape 487"/>
          <p:cNvSpPr>
            <a:spLocks noGrp="1"/>
          </p:cNvSpPr>
          <p:nvPr>
            <p:ph type="pic" sz="quarter" idx="17"/>
          </p:nvPr>
        </p:nvSpPr>
        <p:spPr>
          <a:xfrm>
            <a:off x="8061925" y="4479130"/>
            <a:ext cx="3654812" cy="19573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8" name="Shape 488"/>
          <p:cNvSpPr>
            <a:spLocks noGrp="1"/>
          </p:cNvSpPr>
          <p:nvPr>
            <p:ph type="pic" sz="quarter" idx="18"/>
          </p:nvPr>
        </p:nvSpPr>
        <p:spPr>
          <a:xfrm>
            <a:off x="4268594" y="4479130"/>
            <a:ext cx="3654812" cy="19573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89" name="Shape 48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41900272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Shape 496"/>
          <p:cNvSpPr>
            <a:spLocks noGrp="1"/>
          </p:cNvSpPr>
          <p:nvPr>
            <p:ph type="pic" sz="quarter" idx="13"/>
          </p:nvPr>
        </p:nvSpPr>
        <p:spPr>
          <a:xfrm>
            <a:off x="1" y="2240309"/>
            <a:ext cx="3134829" cy="214625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97" name="Shape 497"/>
          <p:cNvSpPr>
            <a:spLocks noGrp="1"/>
          </p:cNvSpPr>
          <p:nvPr>
            <p:ph type="pic" sz="quarter" idx="14"/>
          </p:nvPr>
        </p:nvSpPr>
        <p:spPr>
          <a:xfrm>
            <a:off x="3134829" y="2253318"/>
            <a:ext cx="3108812" cy="460468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98" name="Shape 498"/>
          <p:cNvSpPr>
            <a:spLocks noGrp="1"/>
          </p:cNvSpPr>
          <p:nvPr>
            <p:ph type="pic" sz="quarter" idx="15"/>
          </p:nvPr>
        </p:nvSpPr>
        <p:spPr>
          <a:xfrm>
            <a:off x="1" y="4386560"/>
            <a:ext cx="3134829" cy="24714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99" name="Shape 49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2001130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Shape 506"/>
          <p:cNvSpPr>
            <a:spLocks noGrp="1"/>
          </p:cNvSpPr>
          <p:nvPr>
            <p:ph type="pic" sz="quarter" idx="13"/>
          </p:nvPr>
        </p:nvSpPr>
        <p:spPr>
          <a:xfrm>
            <a:off x="7129464" y="3814762"/>
            <a:ext cx="2533651" cy="30432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07" name="Shape 507"/>
          <p:cNvSpPr>
            <a:spLocks noGrp="1"/>
          </p:cNvSpPr>
          <p:nvPr>
            <p:ph type="pic" sz="quarter" idx="14"/>
          </p:nvPr>
        </p:nvSpPr>
        <p:spPr>
          <a:xfrm>
            <a:off x="7129464" y="1"/>
            <a:ext cx="2533651" cy="381476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08" name="Shape 508"/>
          <p:cNvSpPr>
            <a:spLocks noGrp="1"/>
          </p:cNvSpPr>
          <p:nvPr>
            <p:ph type="pic" sz="quarter" idx="15"/>
          </p:nvPr>
        </p:nvSpPr>
        <p:spPr>
          <a:xfrm>
            <a:off x="4600576" y="-1"/>
            <a:ext cx="2533651" cy="278606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09" name="Shape 509"/>
          <p:cNvSpPr>
            <a:spLocks noGrp="1"/>
          </p:cNvSpPr>
          <p:nvPr>
            <p:ph type="pic" sz="quarter" idx="16"/>
          </p:nvPr>
        </p:nvSpPr>
        <p:spPr>
          <a:xfrm>
            <a:off x="4600576" y="2786065"/>
            <a:ext cx="2533651" cy="407193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10" name="Shape 510"/>
          <p:cNvSpPr>
            <a:spLocks noGrp="1"/>
          </p:cNvSpPr>
          <p:nvPr>
            <p:ph type="pic" sz="quarter" idx="17"/>
          </p:nvPr>
        </p:nvSpPr>
        <p:spPr>
          <a:xfrm>
            <a:off x="9658350" y="2157414"/>
            <a:ext cx="2533651" cy="470058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11" name="Shape 511"/>
          <p:cNvSpPr>
            <a:spLocks noGrp="1"/>
          </p:cNvSpPr>
          <p:nvPr>
            <p:ph type="pic" sz="quarter" idx="18"/>
          </p:nvPr>
        </p:nvSpPr>
        <p:spPr>
          <a:xfrm>
            <a:off x="9658350" y="0"/>
            <a:ext cx="2533651" cy="215741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12" name="Shape 51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4278112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Shape 519"/>
          <p:cNvSpPr>
            <a:spLocks noGrp="1"/>
          </p:cNvSpPr>
          <p:nvPr>
            <p:ph type="pic" sz="quarter" idx="13"/>
          </p:nvPr>
        </p:nvSpPr>
        <p:spPr>
          <a:xfrm>
            <a:off x="0" y="3686176"/>
            <a:ext cx="3082415" cy="31718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20" name="Shape 520"/>
          <p:cNvSpPr>
            <a:spLocks noGrp="1"/>
          </p:cNvSpPr>
          <p:nvPr>
            <p:ph type="pic" sz="quarter" idx="14"/>
          </p:nvPr>
        </p:nvSpPr>
        <p:spPr>
          <a:xfrm>
            <a:off x="3036529" y="3686176"/>
            <a:ext cx="3082414" cy="31718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21" name="Shape 521"/>
          <p:cNvSpPr>
            <a:spLocks noGrp="1"/>
          </p:cNvSpPr>
          <p:nvPr>
            <p:ph type="pic" sz="quarter" idx="15"/>
          </p:nvPr>
        </p:nvSpPr>
        <p:spPr>
          <a:xfrm>
            <a:off x="9109588" y="3686176"/>
            <a:ext cx="3082414" cy="31718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22" name="Shape 522"/>
          <p:cNvSpPr>
            <a:spLocks noGrp="1"/>
          </p:cNvSpPr>
          <p:nvPr>
            <p:ph type="pic" sz="quarter" idx="16"/>
          </p:nvPr>
        </p:nvSpPr>
        <p:spPr>
          <a:xfrm>
            <a:off x="6073059" y="3686176"/>
            <a:ext cx="3082414" cy="31718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23" name="Shape 52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583501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4430977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Shape 530"/>
          <p:cNvSpPr>
            <a:spLocks noGrp="1"/>
          </p:cNvSpPr>
          <p:nvPr>
            <p:ph type="pic" sz="quarter" idx="13"/>
          </p:nvPr>
        </p:nvSpPr>
        <p:spPr>
          <a:xfrm>
            <a:off x="5133969" y="0"/>
            <a:ext cx="2581277" cy="22926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31" name="Shape 531"/>
          <p:cNvSpPr>
            <a:spLocks noGrp="1"/>
          </p:cNvSpPr>
          <p:nvPr>
            <p:ph type="pic" sz="quarter" idx="14"/>
          </p:nvPr>
        </p:nvSpPr>
        <p:spPr>
          <a:xfrm>
            <a:off x="5133969" y="2282687"/>
            <a:ext cx="2581277" cy="22926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32" name="Shape 532"/>
          <p:cNvSpPr>
            <a:spLocks noGrp="1"/>
          </p:cNvSpPr>
          <p:nvPr>
            <p:ph type="pic" sz="quarter" idx="15"/>
          </p:nvPr>
        </p:nvSpPr>
        <p:spPr>
          <a:xfrm>
            <a:off x="5133969" y="4565374"/>
            <a:ext cx="2581277" cy="22926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33" name="Shape 53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6454035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Shape 540"/>
          <p:cNvSpPr>
            <a:spLocks noGrp="1"/>
          </p:cNvSpPr>
          <p:nvPr>
            <p:ph type="pic" idx="13"/>
          </p:nvPr>
        </p:nvSpPr>
        <p:spPr>
          <a:xfrm>
            <a:off x="0" y="0"/>
            <a:ext cx="6154637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41" name="Shape 54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2654243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Shape 548"/>
          <p:cNvSpPr>
            <a:spLocks noGrp="1"/>
          </p:cNvSpPr>
          <p:nvPr>
            <p:ph type="pic" sz="quarter" idx="13"/>
          </p:nvPr>
        </p:nvSpPr>
        <p:spPr>
          <a:xfrm>
            <a:off x="596346" y="1815549"/>
            <a:ext cx="3233531" cy="21336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49" name="Shape 549"/>
          <p:cNvSpPr>
            <a:spLocks noGrp="1"/>
          </p:cNvSpPr>
          <p:nvPr>
            <p:ph type="pic" sz="quarter" idx="14"/>
          </p:nvPr>
        </p:nvSpPr>
        <p:spPr>
          <a:xfrm>
            <a:off x="4439479" y="1815549"/>
            <a:ext cx="3233530" cy="21336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50" name="Shape 550"/>
          <p:cNvSpPr>
            <a:spLocks noGrp="1"/>
          </p:cNvSpPr>
          <p:nvPr>
            <p:ph type="pic" sz="quarter" idx="15"/>
          </p:nvPr>
        </p:nvSpPr>
        <p:spPr>
          <a:xfrm>
            <a:off x="8282609" y="1815549"/>
            <a:ext cx="3233531" cy="21336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51" name="Shape 55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0481166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Shape 558"/>
          <p:cNvSpPr>
            <a:spLocks noGrp="1"/>
          </p:cNvSpPr>
          <p:nvPr>
            <p:ph type="pic" sz="quarter" idx="13"/>
          </p:nvPr>
        </p:nvSpPr>
        <p:spPr>
          <a:xfrm>
            <a:off x="5233503" y="845031"/>
            <a:ext cx="4350423" cy="375036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59" name="Shape 559"/>
          <p:cNvSpPr>
            <a:spLocks noGrp="1"/>
          </p:cNvSpPr>
          <p:nvPr>
            <p:ph type="pic" sz="quarter" idx="14"/>
          </p:nvPr>
        </p:nvSpPr>
        <p:spPr>
          <a:xfrm>
            <a:off x="7066446" y="2262604"/>
            <a:ext cx="4350424" cy="375036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60" name="Shape 56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6507543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Shape 567"/>
          <p:cNvSpPr>
            <a:spLocks noGrp="1"/>
          </p:cNvSpPr>
          <p:nvPr>
            <p:ph type="pic" sz="half" idx="13"/>
          </p:nvPr>
        </p:nvSpPr>
        <p:spPr>
          <a:xfrm>
            <a:off x="1152939" y="2062431"/>
            <a:ext cx="6149009" cy="390939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68" name="Shape 56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9898568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" name="Shape 575"/>
          <p:cNvSpPr>
            <a:spLocks noGrp="1"/>
          </p:cNvSpPr>
          <p:nvPr>
            <p:ph type="pic" idx="13"/>
          </p:nvPr>
        </p:nvSpPr>
        <p:spPr>
          <a:xfrm>
            <a:off x="-4" y="0"/>
            <a:ext cx="7779030" cy="632129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76" name="Shape 57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0346494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Shape 583"/>
          <p:cNvSpPr>
            <a:spLocks noGrp="1"/>
          </p:cNvSpPr>
          <p:nvPr>
            <p:ph type="pic" sz="quarter" idx="13"/>
          </p:nvPr>
        </p:nvSpPr>
        <p:spPr>
          <a:xfrm>
            <a:off x="993914" y="1"/>
            <a:ext cx="2623930" cy="425576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84" name="Shape 584"/>
          <p:cNvSpPr>
            <a:spLocks noGrp="1"/>
          </p:cNvSpPr>
          <p:nvPr>
            <p:ph type="pic" sz="quarter" idx="14"/>
          </p:nvPr>
        </p:nvSpPr>
        <p:spPr>
          <a:xfrm>
            <a:off x="3618239" y="2601876"/>
            <a:ext cx="2623931" cy="425612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85" name="Shape 585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9085939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Shape 592"/>
          <p:cNvSpPr>
            <a:spLocks noGrp="1"/>
          </p:cNvSpPr>
          <p:nvPr>
            <p:ph type="pic" idx="13"/>
          </p:nvPr>
        </p:nvSpPr>
        <p:spPr>
          <a:xfrm>
            <a:off x="0" y="-1"/>
            <a:ext cx="5923721" cy="6858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93" name="Shape 59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0280028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Shape 600"/>
          <p:cNvSpPr>
            <a:spLocks noGrp="1"/>
          </p:cNvSpPr>
          <p:nvPr>
            <p:ph type="pic" sz="quarter" idx="13"/>
          </p:nvPr>
        </p:nvSpPr>
        <p:spPr>
          <a:xfrm>
            <a:off x="3535957" y="5254388"/>
            <a:ext cx="1961322" cy="160361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01" name="Shape 601"/>
          <p:cNvSpPr>
            <a:spLocks noGrp="1"/>
          </p:cNvSpPr>
          <p:nvPr>
            <p:ph type="pic" sz="quarter" idx="14"/>
          </p:nvPr>
        </p:nvSpPr>
        <p:spPr>
          <a:xfrm>
            <a:off x="1325019" y="3554896"/>
            <a:ext cx="1961322" cy="31010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02" name="Shape 602"/>
          <p:cNvSpPr>
            <a:spLocks noGrp="1"/>
          </p:cNvSpPr>
          <p:nvPr>
            <p:ph type="pic" sz="quarter" idx="15"/>
          </p:nvPr>
        </p:nvSpPr>
        <p:spPr>
          <a:xfrm>
            <a:off x="1325019" y="202096"/>
            <a:ext cx="1961322" cy="310100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03" name="Shape 603"/>
          <p:cNvSpPr>
            <a:spLocks noGrp="1"/>
          </p:cNvSpPr>
          <p:nvPr>
            <p:ph type="pic" sz="quarter" idx="16"/>
          </p:nvPr>
        </p:nvSpPr>
        <p:spPr>
          <a:xfrm>
            <a:off x="3535957" y="-1"/>
            <a:ext cx="1961322" cy="16036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04" name="Shape 604"/>
          <p:cNvSpPr>
            <a:spLocks noGrp="1"/>
          </p:cNvSpPr>
          <p:nvPr>
            <p:ph type="pic" sz="quarter" idx="17"/>
          </p:nvPr>
        </p:nvSpPr>
        <p:spPr>
          <a:xfrm>
            <a:off x="3535957" y="1878495"/>
            <a:ext cx="1961322" cy="31010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05" name="Shape 605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1035323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Shape 612"/>
          <p:cNvSpPr>
            <a:spLocks noGrp="1"/>
          </p:cNvSpPr>
          <p:nvPr>
            <p:ph type="pic" sz="half" idx="13"/>
          </p:nvPr>
        </p:nvSpPr>
        <p:spPr>
          <a:xfrm>
            <a:off x="861391" y="-1"/>
            <a:ext cx="4187687" cy="454549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13" name="Shape 613"/>
          <p:cNvSpPr>
            <a:spLocks noGrp="1"/>
          </p:cNvSpPr>
          <p:nvPr>
            <p:ph type="pic" sz="half" idx="14"/>
          </p:nvPr>
        </p:nvSpPr>
        <p:spPr>
          <a:xfrm>
            <a:off x="2464904" y="2312504"/>
            <a:ext cx="4187687" cy="454549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14" name="Shape 61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8970845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tandar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9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8613632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1" name="Shape 621"/>
          <p:cNvSpPr>
            <a:spLocks noGrp="1"/>
          </p:cNvSpPr>
          <p:nvPr>
            <p:ph type="pic" sz="quarter" idx="13"/>
          </p:nvPr>
        </p:nvSpPr>
        <p:spPr>
          <a:xfrm>
            <a:off x="1099933" y="1268896"/>
            <a:ext cx="2478157" cy="432021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22" name="Shape 622"/>
          <p:cNvSpPr>
            <a:spLocks noGrp="1"/>
          </p:cNvSpPr>
          <p:nvPr>
            <p:ph type="pic" sz="quarter" idx="14"/>
          </p:nvPr>
        </p:nvSpPr>
        <p:spPr>
          <a:xfrm>
            <a:off x="3909393" y="0"/>
            <a:ext cx="2478157" cy="325341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23" name="Shape 623"/>
          <p:cNvSpPr>
            <a:spLocks noGrp="1"/>
          </p:cNvSpPr>
          <p:nvPr>
            <p:ph type="pic" sz="quarter" idx="15"/>
          </p:nvPr>
        </p:nvSpPr>
        <p:spPr>
          <a:xfrm>
            <a:off x="3909393" y="3604591"/>
            <a:ext cx="2478157" cy="325341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24" name="Shape 62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2715699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>
            <a:spLocks noGrp="1"/>
          </p:cNvSpPr>
          <p:nvPr>
            <p:ph type="pic" idx="13"/>
          </p:nvPr>
        </p:nvSpPr>
        <p:spPr>
          <a:xfrm>
            <a:off x="0" y="1"/>
            <a:ext cx="12192000" cy="344556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32" name="Shape 63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4750610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9" name="Shape 639"/>
          <p:cNvSpPr>
            <a:spLocks noGrp="1"/>
          </p:cNvSpPr>
          <p:nvPr>
            <p:ph type="pic" sz="quarter" idx="13"/>
          </p:nvPr>
        </p:nvSpPr>
        <p:spPr>
          <a:xfrm>
            <a:off x="1260538" y="0"/>
            <a:ext cx="2597427" cy="529533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40" name="Shape 640"/>
          <p:cNvSpPr>
            <a:spLocks noGrp="1"/>
          </p:cNvSpPr>
          <p:nvPr>
            <p:ph type="pic" sz="quarter" idx="14"/>
          </p:nvPr>
        </p:nvSpPr>
        <p:spPr>
          <a:xfrm>
            <a:off x="4280451" y="1562670"/>
            <a:ext cx="2597428" cy="529533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41" name="Shape 64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3267890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Shape 648"/>
          <p:cNvSpPr>
            <a:spLocks noGrp="1"/>
          </p:cNvSpPr>
          <p:nvPr>
            <p:ph type="pic" idx="13"/>
          </p:nvPr>
        </p:nvSpPr>
        <p:spPr>
          <a:xfrm>
            <a:off x="0" y="0"/>
            <a:ext cx="7169426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49" name="Shape 64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1069404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" name="Shape 656"/>
          <p:cNvSpPr>
            <a:spLocks noGrp="1"/>
          </p:cNvSpPr>
          <p:nvPr>
            <p:ph type="pic" idx="13"/>
          </p:nvPr>
        </p:nvSpPr>
        <p:spPr>
          <a:xfrm>
            <a:off x="-1" y="0"/>
            <a:ext cx="6857118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57" name="Shape 657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7467817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" name="Shape 664"/>
          <p:cNvSpPr>
            <a:spLocks noGrp="1"/>
          </p:cNvSpPr>
          <p:nvPr>
            <p:ph type="pic" idx="13"/>
          </p:nvPr>
        </p:nvSpPr>
        <p:spPr>
          <a:xfrm>
            <a:off x="6361043" y="0"/>
            <a:ext cx="4929810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65" name="Shape 665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39637478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Shape 672"/>
          <p:cNvSpPr>
            <a:spLocks noGrp="1"/>
          </p:cNvSpPr>
          <p:nvPr>
            <p:ph type="pic" idx="13"/>
          </p:nvPr>
        </p:nvSpPr>
        <p:spPr>
          <a:xfrm>
            <a:off x="954158" y="0"/>
            <a:ext cx="4929811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73" name="Shape 67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3580041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Shape 680"/>
          <p:cNvSpPr>
            <a:spLocks noGrp="1"/>
          </p:cNvSpPr>
          <p:nvPr>
            <p:ph type="pic" idx="13"/>
          </p:nvPr>
        </p:nvSpPr>
        <p:spPr>
          <a:xfrm>
            <a:off x="4076698" y="421482"/>
            <a:ext cx="7675214" cy="60150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81" name="Shape 68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3192778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" name="Shape 688"/>
          <p:cNvSpPr>
            <a:spLocks noGrp="1"/>
          </p:cNvSpPr>
          <p:nvPr>
            <p:ph type="pic" sz="quarter" idx="13"/>
          </p:nvPr>
        </p:nvSpPr>
        <p:spPr>
          <a:xfrm>
            <a:off x="735583" y="2230136"/>
            <a:ext cx="5057776" cy="279191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89" name="Shape 689"/>
          <p:cNvSpPr>
            <a:spLocks noGrp="1"/>
          </p:cNvSpPr>
          <p:nvPr>
            <p:ph type="pic" sz="quarter" idx="14"/>
          </p:nvPr>
        </p:nvSpPr>
        <p:spPr>
          <a:xfrm>
            <a:off x="6398645" y="2230136"/>
            <a:ext cx="5057776" cy="279191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90" name="Shape 69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6600042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Shape 697"/>
          <p:cNvSpPr>
            <a:spLocks noGrp="1"/>
          </p:cNvSpPr>
          <p:nvPr>
            <p:ph type="pic" sz="half" idx="13"/>
          </p:nvPr>
        </p:nvSpPr>
        <p:spPr>
          <a:xfrm>
            <a:off x="1007166" y="702366"/>
            <a:ext cx="6930888" cy="353833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98" name="Shape 69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27143590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Standar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6097003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Shape 705"/>
          <p:cNvSpPr>
            <a:spLocks noGrp="1"/>
          </p:cNvSpPr>
          <p:nvPr>
            <p:ph type="pic" idx="13"/>
          </p:nvPr>
        </p:nvSpPr>
        <p:spPr>
          <a:xfrm>
            <a:off x="-16590" y="1"/>
            <a:ext cx="12224571" cy="385117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06" name="Shape 706"/>
          <p:cNvSpPr>
            <a:spLocks noGrp="1"/>
          </p:cNvSpPr>
          <p:nvPr>
            <p:ph type="pic" sz="quarter" idx="14"/>
          </p:nvPr>
        </p:nvSpPr>
        <p:spPr>
          <a:xfrm>
            <a:off x="7779025" y="2027583"/>
            <a:ext cx="2941984" cy="428045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07" name="Shape 707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14657643"/>
      </p:ext>
    </p:extLst>
  </p:cSld>
  <p:clrMapOvr>
    <a:masterClrMapping/>
  </p:clrMapOvr>
  <p:transition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" name="Shape 714"/>
          <p:cNvSpPr>
            <a:spLocks noGrp="1"/>
          </p:cNvSpPr>
          <p:nvPr>
            <p:ph type="pic" idx="13"/>
          </p:nvPr>
        </p:nvSpPr>
        <p:spPr>
          <a:xfrm>
            <a:off x="-16590" y="1"/>
            <a:ext cx="12224571" cy="385117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15" name="Shape 715"/>
          <p:cNvSpPr>
            <a:spLocks noGrp="1"/>
          </p:cNvSpPr>
          <p:nvPr>
            <p:ph type="pic" sz="quarter" idx="14"/>
          </p:nvPr>
        </p:nvSpPr>
        <p:spPr>
          <a:xfrm>
            <a:off x="1139687" y="2027583"/>
            <a:ext cx="2941984" cy="428045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16" name="Shape 71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8369821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" name="Shape 723"/>
          <p:cNvSpPr>
            <a:spLocks noGrp="1"/>
          </p:cNvSpPr>
          <p:nvPr>
            <p:ph type="pic" idx="13"/>
          </p:nvPr>
        </p:nvSpPr>
        <p:spPr>
          <a:xfrm>
            <a:off x="556590" y="566533"/>
            <a:ext cx="6294783" cy="572493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24" name="Shape 72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0010604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Shape 731"/>
          <p:cNvSpPr>
            <a:spLocks noGrp="1"/>
          </p:cNvSpPr>
          <p:nvPr>
            <p:ph type="pic" sz="half" idx="13"/>
          </p:nvPr>
        </p:nvSpPr>
        <p:spPr>
          <a:xfrm>
            <a:off x="755375" y="801435"/>
            <a:ext cx="5274367" cy="525513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32" name="Shape 73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2550319"/>
      </p:ext>
    </p:extLst>
  </p:cSld>
  <p:clrMapOvr>
    <a:masterClrMapping/>
  </p:clrMapOvr>
  <p:transition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Shape 739"/>
          <p:cNvSpPr>
            <a:spLocks noGrp="1"/>
          </p:cNvSpPr>
          <p:nvPr>
            <p:ph type="pic" sz="quarter" idx="13"/>
          </p:nvPr>
        </p:nvSpPr>
        <p:spPr>
          <a:xfrm>
            <a:off x="2002148" y="993912"/>
            <a:ext cx="3616774" cy="423025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40" name="Shape 740"/>
          <p:cNvSpPr>
            <a:spLocks noGrp="1"/>
          </p:cNvSpPr>
          <p:nvPr>
            <p:ph type="pic" sz="quarter" idx="14"/>
          </p:nvPr>
        </p:nvSpPr>
        <p:spPr>
          <a:xfrm>
            <a:off x="2982809" y="2627745"/>
            <a:ext cx="3616775" cy="42302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41" name="Shape 741"/>
          <p:cNvSpPr>
            <a:spLocks noGrp="1"/>
          </p:cNvSpPr>
          <p:nvPr>
            <p:ph type="pic" sz="quarter" idx="15"/>
          </p:nvPr>
        </p:nvSpPr>
        <p:spPr>
          <a:xfrm>
            <a:off x="729939" y="0"/>
            <a:ext cx="3616775" cy="42302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42" name="Shape 74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7869441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Shape 749"/>
          <p:cNvSpPr>
            <a:spLocks noGrp="1"/>
          </p:cNvSpPr>
          <p:nvPr>
            <p:ph type="pic" sz="half" idx="13"/>
          </p:nvPr>
        </p:nvSpPr>
        <p:spPr>
          <a:xfrm>
            <a:off x="583096" y="1775791"/>
            <a:ext cx="5486403" cy="45057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50" name="Shape 75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2604057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" name="Shape 757"/>
          <p:cNvSpPr>
            <a:spLocks noGrp="1"/>
          </p:cNvSpPr>
          <p:nvPr>
            <p:ph type="pic" sz="quarter" idx="13"/>
          </p:nvPr>
        </p:nvSpPr>
        <p:spPr>
          <a:xfrm>
            <a:off x="4647624" y="2243035"/>
            <a:ext cx="2958959" cy="295895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58" name="Shape 758"/>
          <p:cNvSpPr>
            <a:spLocks noGrp="1"/>
          </p:cNvSpPr>
          <p:nvPr>
            <p:ph type="pic" sz="quarter" idx="14"/>
          </p:nvPr>
        </p:nvSpPr>
        <p:spPr>
          <a:xfrm>
            <a:off x="7980157" y="2243035"/>
            <a:ext cx="2958959" cy="295895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59" name="Shape 759"/>
          <p:cNvSpPr>
            <a:spLocks noGrp="1"/>
          </p:cNvSpPr>
          <p:nvPr>
            <p:ph type="pic" sz="quarter" idx="15"/>
          </p:nvPr>
        </p:nvSpPr>
        <p:spPr>
          <a:xfrm>
            <a:off x="1315092" y="2243035"/>
            <a:ext cx="2958958" cy="295895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60" name="Shape 76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92090514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" name="Shape 767"/>
          <p:cNvSpPr>
            <a:spLocks noGrp="1"/>
          </p:cNvSpPr>
          <p:nvPr>
            <p:ph type="pic" sz="quarter" idx="13"/>
          </p:nvPr>
        </p:nvSpPr>
        <p:spPr>
          <a:xfrm>
            <a:off x="4538869" y="2309179"/>
            <a:ext cx="3127514" cy="31275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68" name="Shape 768"/>
          <p:cNvSpPr>
            <a:spLocks noGrp="1"/>
          </p:cNvSpPr>
          <p:nvPr>
            <p:ph type="pic" sz="quarter" idx="14"/>
          </p:nvPr>
        </p:nvSpPr>
        <p:spPr>
          <a:xfrm>
            <a:off x="8315738" y="2309179"/>
            <a:ext cx="3127514" cy="31275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69" name="Shape 769"/>
          <p:cNvSpPr>
            <a:spLocks noGrp="1"/>
          </p:cNvSpPr>
          <p:nvPr>
            <p:ph type="pic" sz="quarter" idx="15"/>
          </p:nvPr>
        </p:nvSpPr>
        <p:spPr>
          <a:xfrm>
            <a:off x="762000" y="2309179"/>
            <a:ext cx="3127513" cy="31275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70" name="Shape 77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0147071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" name="Shape 777"/>
          <p:cNvSpPr>
            <a:spLocks noGrp="1"/>
          </p:cNvSpPr>
          <p:nvPr>
            <p:ph type="pic" sz="quarter" idx="13"/>
          </p:nvPr>
        </p:nvSpPr>
        <p:spPr>
          <a:xfrm>
            <a:off x="7541559" y="2891117"/>
            <a:ext cx="3012142" cy="200943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78" name="Shape 778"/>
          <p:cNvSpPr>
            <a:spLocks noGrp="1"/>
          </p:cNvSpPr>
          <p:nvPr>
            <p:ph type="pic" sz="quarter" idx="14"/>
          </p:nvPr>
        </p:nvSpPr>
        <p:spPr>
          <a:xfrm>
            <a:off x="1638301" y="2891117"/>
            <a:ext cx="3012142" cy="200943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79" name="Shape 77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3021502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Shape 786"/>
          <p:cNvSpPr>
            <a:spLocks noGrp="1"/>
          </p:cNvSpPr>
          <p:nvPr>
            <p:ph type="pic" sz="half" idx="13"/>
          </p:nvPr>
        </p:nvSpPr>
        <p:spPr>
          <a:xfrm>
            <a:off x="6096000" y="0"/>
            <a:ext cx="6096000" cy="3429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87" name="Shape 787"/>
          <p:cNvSpPr>
            <a:spLocks noGrp="1"/>
          </p:cNvSpPr>
          <p:nvPr>
            <p:ph type="pic" sz="half" idx="14"/>
          </p:nvPr>
        </p:nvSpPr>
        <p:spPr>
          <a:xfrm>
            <a:off x="0" y="3429000"/>
            <a:ext cx="6096000" cy="3429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88" name="Shape 78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88202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Standard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83023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5" name="Shape 795"/>
          <p:cNvSpPr>
            <a:spLocks noGrp="1"/>
          </p:cNvSpPr>
          <p:nvPr>
            <p:ph type="pic" sz="quarter" idx="13"/>
          </p:nvPr>
        </p:nvSpPr>
        <p:spPr>
          <a:xfrm>
            <a:off x="2742664" y="981633"/>
            <a:ext cx="2615721" cy="259528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96" name="Shape 796"/>
          <p:cNvSpPr>
            <a:spLocks noGrp="1"/>
          </p:cNvSpPr>
          <p:nvPr>
            <p:ph type="pic" sz="quarter" idx="14"/>
          </p:nvPr>
        </p:nvSpPr>
        <p:spPr>
          <a:xfrm>
            <a:off x="6833614" y="981633"/>
            <a:ext cx="2615721" cy="259528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97" name="Shape 797"/>
          <p:cNvSpPr>
            <a:spLocks noGrp="1"/>
          </p:cNvSpPr>
          <p:nvPr>
            <p:ph type="pic" sz="quarter" idx="15"/>
          </p:nvPr>
        </p:nvSpPr>
        <p:spPr>
          <a:xfrm>
            <a:off x="4217894" y="415843"/>
            <a:ext cx="3756211" cy="372686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98" name="Shape 79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2399079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5" name="Shape 805"/>
          <p:cNvSpPr>
            <a:spLocks noGrp="1"/>
          </p:cNvSpPr>
          <p:nvPr>
            <p:ph type="pic" sz="half" idx="13"/>
          </p:nvPr>
        </p:nvSpPr>
        <p:spPr>
          <a:xfrm>
            <a:off x="4343703" y="1086679"/>
            <a:ext cx="6854385" cy="261067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06" name="Shape 80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65874969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" name="Shape 813"/>
          <p:cNvSpPr>
            <a:spLocks noGrp="1"/>
          </p:cNvSpPr>
          <p:nvPr>
            <p:ph type="pic" sz="half" idx="13"/>
          </p:nvPr>
        </p:nvSpPr>
        <p:spPr>
          <a:xfrm>
            <a:off x="6096000" y="1"/>
            <a:ext cx="6096000" cy="33909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14" name="Shape 814"/>
          <p:cNvSpPr>
            <a:spLocks noGrp="1"/>
          </p:cNvSpPr>
          <p:nvPr>
            <p:ph type="pic" sz="half" idx="14"/>
          </p:nvPr>
        </p:nvSpPr>
        <p:spPr>
          <a:xfrm>
            <a:off x="0" y="1"/>
            <a:ext cx="6096000" cy="33909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15" name="Shape 815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3302687"/>
      </p:ext>
    </p:extLst>
  </p:cSld>
  <p:clrMapOvr>
    <a:masterClrMapping/>
  </p:clrMapOvr>
  <p:transition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" name="Shape 822"/>
          <p:cNvSpPr>
            <a:spLocks noGrp="1"/>
          </p:cNvSpPr>
          <p:nvPr>
            <p:ph type="pic" sz="half" idx="13"/>
          </p:nvPr>
        </p:nvSpPr>
        <p:spPr>
          <a:xfrm>
            <a:off x="1" y="0"/>
            <a:ext cx="4571999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23" name="Shape 82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6198986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" name="Shape 830"/>
          <p:cNvSpPr>
            <a:spLocks noGrp="1"/>
          </p:cNvSpPr>
          <p:nvPr>
            <p:ph type="pic" sz="quarter" idx="13"/>
          </p:nvPr>
        </p:nvSpPr>
        <p:spPr>
          <a:xfrm>
            <a:off x="8222674" y="2396837"/>
            <a:ext cx="3186546" cy="239683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31" name="Shape 831"/>
          <p:cNvSpPr>
            <a:spLocks noGrp="1"/>
          </p:cNvSpPr>
          <p:nvPr>
            <p:ph type="pic" sz="quarter" idx="14"/>
          </p:nvPr>
        </p:nvSpPr>
        <p:spPr>
          <a:xfrm>
            <a:off x="782784" y="2396837"/>
            <a:ext cx="3186546" cy="239683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32" name="Shape 832"/>
          <p:cNvSpPr>
            <a:spLocks noGrp="1"/>
          </p:cNvSpPr>
          <p:nvPr>
            <p:ph type="pic" sz="quarter" idx="15"/>
          </p:nvPr>
        </p:nvSpPr>
        <p:spPr>
          <a:xfrm>
            <a:off x="4502729" y="2396837"/>
            <a:ext cx="3186546" cy="239683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33" name="Shape 83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223431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" name="Shape 840"/>
          <p:cNvSpPr>
            <a:spLocks noGrp="1"/>
          </p:cNvSpPr>
          <p:nvPr>
            <p:ph type="pic" sz="quarter" idx="13"/>
          </p:nvPr>
        </p:nvSpPr>
        <p:spPr>
          <a:xfrm>
            <a:off x="3739488" y="3520430"/>
            <a:ext cx="3393657" cy="315489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1" name="Shape 841"/>
          <p:cNvSpPr>
            <a:spLocks noGrp="1"/>
          </p:cNvSpPr>
          <p:nvPr>
            <p:ph type="pic" sz="quarter" idx="14"/>
          </p:nvPr>
        </p:nvSpPr>
        <p:spPr>
          <a:xfrm>
            <a:off x="163392" y="182681"/>
            <a:ext cx="3393658" cy="315489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2" name="Shape 842"/>
          <p:cNvSpPr>
            <a:spLocks noGrp="1"/>
          </p:cNvSpPr>
          <p:nvPr>
            <p:ph type="pic" sz="quarter" idx="15"/>
          </p:nvPr>
        </p:nvSpPr>
        <p:spPr>
          <a:xfrm>
            <a:off x="163392" y="3520430"/>
            <a:ext cx="3393658" cy="315489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3" name="Shape 843"/>
          <p:cNvSpPr>
            <a:spLocks noGrp="1"/>
          </p:cNvSpPr>
          <p:nvPr>
            <p:ph type="pic" sz="quarter" idx="16"/>
          </p:nvPr>
        </p:nvSpPr>
        <p:spPr>
          <a:xfrm>
            <a:off x="3739488" y="182681"/>
            <a:ext cx="3393657" cy="315489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4" name="Shape 84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5631079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" name="Shape 851"/>
          <p:cNvSpPr>
            <a:spLocks noGrp="1"/>
          </p:cNvSpPr>
          <p:nvPr>
            <p:ph type="pic" sz="quarter" idx="13"/>
          </p:nvPr>
        </p:nvSpPr>
        <p:spPr>
          <a:xfrm>
            <a:off x="6313492" y="2299448"/>
            <a:ext cx="5427935" cy="305248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52" name="Shape 852"/>
          <p:cNvSpPr>
            <a:spLocks noGrp="1"/>
          </p:cNvSpPr>
          <p:nvPr>
            <p:ph type="pic" sz="quarter" idx="14"/>
          </p:nvPr>
        </p:nvSpPr>
        <p:spPr>
          <a:xfrm>
            <a:off x="450573" y="2299448"/>
            <a:ext cx="5427936" cy="3052483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53" name="Shape 85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311577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" name="Shape 860"/>
          <p:cNvSpPr>
            <a:spLocks noGrp="1"/>
          </p:cNvSpPr>
          <p:nvPr>
            <p:ph type="pic" sz="quarter" idx="13"/>
          </p:nvPr>
        </p:nvSpPr>
        <p:spPr>
          <a:xfrm>
            <a:off x="164011" y="3515517"/>
            <a:ext cx="3421871" cy="318112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61" name="Shape 861"/>
          <p:cNvSpPr>
            <a:spLocks noGrp="1"/>
          </p:cNvSpPr>
          <p:nvPr>
            <p:ph type="pic" sz="half" idx="14"/>
          </p:nvPr>
        </p:nvSpPr>
        <p:spPr>
          <a:xfrm>
            <a:off x="3751729" y="161364"/>
            <a:ext cx="3421870" cy="65350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62" name="Shape 862"/>
          <p:cNvSpPr>
            <a:spLocks noGrp="1"/>
          </p:cNvSpPr>
          <p:nvPr>
            <p:ph type="pic" sz="quarter" idx="15"/>
          </p:nvPr>
        </p:nvSpPr>
        <p:spPr>
          <a:xfrm>
            <a:off x="164011" y="161367"/>
            <a:ext cx="3421871" cy="318112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63" name="Shape 86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1098819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" name="Shape 870"/>
          <p:cNvSpPr>
            <a:spLocks noGrp="1"/>
          </p:cNvSpPr>
          <p:nvPr>
            <p:ph type="pic" sz="quarter" idx="13"/>
          </p:nvPr>
        </p:nvSpPr>
        <p:spPr>
          <a:xfrm>
            <a:off x="8162042" y="3193775"/>
            <a:ext cx="3890812" cy="354437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71" name="Shape 871"/>
          <p:cNvSpPr>
            <a:spLocks noGrp="1"/>
          </p:cNvSpPr>
          <p:nvPr>
            <p:ph type="pic" sz="quarter" idx="14"/>
          </p:nvPr>
        </p:nvSpPr>
        <p:spPr>
          <a:xfrm>
            <a:off x="4150595" y="3193775"/>
            <a:ext cx="3890811" cy="354437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72" name="Shape 872"/>
          <p:cNvSpPr>
            <a:spLocks noGrp="1"/>
          </p:cNvSpPr>
          <p:nvPr>
            <p:ph type="pic" sz="quarter" idx="15"/>
          </p:nvPr>
        </p:nvSpPr>
        <p:spPr>
          <a:xfrm>
            <a:off x="139147" y="3193775"/>
            <a:ext cx="3890812" cy="354437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73" name="Shape 87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92150505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" name="Shape 880"/>
          <p:cNvSpPr>
            <a:spLocks noGrp="1"/>
          </p:cNvSpPr>
          <p:nvPr>
            <p:ph type="pic" sz="quarter" idx="13"/>
          </p:nvPr>
        </p:nvSpPr>
        <p:spPr>
          <a:xfrm>
            <a:off x="8153400" y="133108"/>
            <a:ext cx="3890811" cy="18685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81" name="Shape 881"/>
          <p:cNvSpPr>
            <a:spLocks noGrp="1"/>
          </p:cNvSpPr>
          <p:nvPr>
            <p:ph type="pic" sz="quarter" idx="14"/>
          </p:nvPr>
        </p:nvSpPr>
        <p:spPr>
          <a:xfrm>
            <a:off x="8162042" y="2120935"/>
            <a:ext cx="3890812" cy="18685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82" name="Shape 882"/>
          <p:cNvSpPr>
            <a:spLocks noGrp="1"/>
          </p:cNvSpPr>
          <p:nvPr>
            <p:ph type="pic" sz="quarter" idx="15"/>
          </p:nvPr>
        </p:nvSpPr>
        <p:spPr>
          <a:xfrm>
            <a:off x="139147" y="2120935"/>
            <a:ext cx="3890812" cy="18685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83" name="Shape 883"/>
          <p:cNvSpPr>
            <a:spLocks noGrp="1"/>
          </p:cNvSpPr>
          <p:nvPr>
            <p:ph type="pic" sz="quarter" idx="16"/>
          </p:nvPr>
        </p:nvSpPr>
        <p:spPr>
          <a:xfrm>
            <a:off x="4150595" y="2120935"/>
            <a:ext cx="3890811" cy="18685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84" name="Shape 884"/>
          <p:cNvSpPr>
            <a:spLocks noGrp="1"/>
          </p:cNvSpPr>
          <p:nvPr>
            <p:ph type="pic" sz="quarter" idx="17"/>
          </p:nvPr>
        </p:nvSpPr>
        <p:spPr>
          <a:xfrm>
            <a:off x="4150595" y="133108"/>
            <a:ext cx="3890811" cy="18685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85" name="Shape 885"/>
          <p:cNvSpPr>
            <a:spLocks noGrp="1"/>
          </p:cNvSpPr>
          <p:nvPr>
            <p:ph type="pic" sz="quarter" idx="18"/>
          </p:nvPr>
        </p:nvSpPr>
        <p:spPr>
          <a:xfrm>
            <a:off x="139147" y="133108"/>
            <a:ext cx="3890812" cy="186855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86" name="Shape 88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52047544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Standard tex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8400328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Shape 893"/>
          <p:cNvSpPr>
            <a:spLocks noGrp="1"/>
          </p:cNvSpPr>
          <p:nvPr>
            <p:ph type="pic" idx="13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94" name="Shape 89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54665692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Shape 901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392654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02" name="Shape 90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8741042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Shape 909"/>
          <p:cNvSpPr>
            <a:spLocks noGrp="1"/>
          </p:cNvSpPr>
          <p:nvPr>
            <p:ph type="pic" idx="13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10" name="Shape 910"/>
          <p:cNvSpPr>
            <a:spLocks noGrp="1"/>
          </p:cNvSpPr>
          <p:nvPr>
            <p:ph type="pic" sz="quarter" idx="14"/>
          </p:nvPr>
        </p:nvSpPr>
        <p:spPr>
          <a:xfrm>
            <a:off x="2133599" y="821635"/>
            <a:ext cx="1696280" cy="276970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11" name="Shape 91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7649749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8" name="Shape 918"/>
          <p:cNvSpPr>
            <a:spLocks noGrp="1"/>
          </p:cNvSpPr>
          <p:nvPr>
            <p:ph type="pic" sz="half" idx="13"/>
          </p:nvPr>
        </p:nvSpPr>
        <p:spPr>
          <a:xfrm>
            <a:off x="6096001" y="0"/>
            <a:ext cx="3966950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19" name="Shape 91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8544240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" name="Shape 926"/>
          <p:cNvSpPr>
            <a:spLocks noGrp="1"/>
          </p:cNvSpPr>
          <p:nvPr>
            <p:ph type="pic" idx="13"/>
          </p:nvPr>
        </p:nvSpPr>
        <p:spPr>
          <a:xfrm>
            <a:off x="6322273" y="254037"/>
            <a:ext cx="5655913" cy="63499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27" name="Shape 927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7398242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" name="Shape 934"/>
          <p:cNvSpPr>
            <a:spLocks noGrp="1"/>
          </p:cNvSpPr>
          <p:nvPr>
            <p:ph type="pic" sz="half" idx="13"/>
          </p:nvPr>
        </p:nvSpPr>
        <p:spPr>
          <a:xfrm>
            <a:off x="7902054" y="501556"/>
            <a:ext cx="3957851" cy="585489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35" name="Shape 935"/>
          <p:cNvSpPr>
            <a:spLocks noGrp="1"/>
          </p:cNvSpPr>
          <p:nvPr>
            <p:ph type="pic" sz="half" idx="14"/>
          </p:nvPr>
        </p:nvSpPr>
        <p:spPr>
          <a:xfrm>
            <a:off x="4763070" y="501556"/>
            <a:ext cx="3957851" cy="585489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36" name="Shape 93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2303460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" name="Shape 943"/>
          <p:cNvSpPr>
            <a:spLocks noGrp="1"/>
          </p:cNvSpPr>
          <p:nvPr>
            <p:ph type="pic" sz="quarter" idx="13"/>
          </p:nvPr>
        </p:nvSpPr>
        <p:spPr>
          <a:xfrm>
            <a:off x="9797143" y="0"/>
            <a:ext cx="2394858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44" name="Shape 94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5898292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" name="Shape 951"/>
          <p:cNvSpPr>
            <a:spLocks noGrp="1"/>
          </p:cNvSpPr>
          <p:nvPr>
            <p:ph type="sldNum" sz="quarter" idx="2"/>
          </p:nvPr>
        </p:nvSpPr>
        <p:spPr>
          <a:xfrm>
            <a:off x="628356" y="372601"/>
            <a:ext cx="287783" cy="2946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9487289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Shape 958"/>
          <p:cNvSpPr/>
          <p:nvPr/>
        </p:nvSpPr>
        <p:spPr>
          <a:xfrm>
            <a:off x="-35159" y="-7086"/>
            <a:ext cx="12262318" cy="6872172"/>
          </a:xfrm>
          <a:prstGeom prst="rect">
            <a:avLst/>
          </a:prstGeom>
          <a:solidFill>
            <a:srgbClr val="FFFFFF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959" name="Shape 959"/>
          <p:cNvSpPr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286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0983022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одзаголовок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" name="Shape 966"/>
          <p:cNvSpPr>
            <a:spLocks noGrp="1"/>
          </p:cNvSpPr>
          <p:nvPr>
            <p:ph type="title"/>
          </p:nvPr>
        </p:nvSpPr>
        <p:spPr>
          <a:xfrm>
            <a:off x="2416968" y="1151929"/>
            <a:ext cx="7358064" cy="2321720"/>
          </a:xfrm>
          <a:prstGeom prst="rect">
            <a:avLst/>
          </a:prstGeom>
        </p:spPr>
        <p:txBody>
          <a:bodyPr lIns="35718" tIns="35718" rIns="35718" bIns="35718" anchor="b"/>
          <a:lstStyle>
            <a:lvl1pPr algn="ctr" defTabSz="410765">
              <a:lnSpc>
                <a:spcPct val="100000"/>
              </a:lnSpc>
              <a:defRPr sz="5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67" name="Shape 967"/>
          <p:cNvSpPr>
            <a:spLocks noGrp="1"/>
          </p:cNvSpPr>
          <p:nvPr>
            <p:ph type="body" sz="quarter" idx="1"/>
          </p:nvPr>
        </p:nvSpPr>
        <p:spPr>
          <a:xfrm>
            <a:off x="2416968" y="3536156"/>
            <a:ext cx="7358064" cy="794743"/>
          </a:xfrm>
          <a:prstGeom prst="rect">
            <a:avLst/>
          </a:prstGeom>
        </p:spPr>
        <p:txBody>
          <a:bodyPr lIns="35718" tIns="35718" rIns="35718" bIns="35718"/>
          <a:lstStyle>
            <a:lvl1pPr marL="0" indent="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2286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4572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6858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9144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68" name="Shape 968"/>
          <p:cNvSpPr>
            <a:spLocks noGrp="1"/>
          </p:cNvSpPr>
          <p:nvPr>
            <p:ph type="sldNum" sz="quarter" idx="2"/>
          </p:nvPr>
        </p:nvSpPr>
        <p:spPr>
          <a:xfrm>
            <a:off x="5964732" y="6509742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94836835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Standar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599462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Shape 975"/>
          <p:cNvSpPr>
            <a:spLocks noGrp="1"/>
          </p:cNvSpPr>
          <p:nvPr>
            <p:ph type="sldNum" sz="quarter" idx="2"/>
          </p:nvPr>
        </p:nvSpPr>
        <p:spPr>
          <a:xfrm>
            <a:off x="5964732" y="6509742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8835143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" name="Shape 982"/>
          <p:cNvSpPr>
            <a:spLocks noGrp="1"/>
          </p:cNvSpPr>
          <p:nvPr>
            <p:ph type="title"/>
          </p:nvPr>
        </p:nvSpPr>
        <p:spPr>
          <a:xfrm>
            <a:off x="2193726" y="312539"/>
            <a:ext cx="7804548" cy="1518047"/>
          </a:xfrm>
          <a:prstGeom prst="rect">
            <a:avLst/>
          </a:prstGeom>
        </p:spPr>
        <p:txBody>
          <a:bodyPr lIns="35718" tIns="35718" rIns="35718" bIns="35718"/>
          <a:lstStyle>
            <a:lvl1pPr algn="ctr" defTabSz="410765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83" name="Shape 983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0016509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" name="Shape 990"/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91" name="Shape 991"/>
          <p:cNvSpPr>
            <a:spLocks noGrp="1"/>
          </p:cNvSpPr>
          <p:nvPr>
            <p:ph type="body" sz="quarter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1pPr>
            <a:lvl2pPr marL="0" indent="457200" algn="ctr">
              <a:buSzTx/>
              <a:buFont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2pPr>
            <a:lvl3pPr marL="0" indent="914400" algn="ctr">
              <a:buSzTx/>
              <a:buFont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3pPr>
            <a:lvl4pPr marL="0" indent="1371600" algn="ctr">
              <a:buSzTx/>
              <a:buFont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4pPr>
            <a:lvl5pPr marL="0" indent="1828800" algn="ctr">
              <a:buSzTx/>
              <a:buFont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92" name="Shape 992"/>
          <p:cNvSpPr>
            <a:spLocks noGrp="1"/>
          </p:cNvSpPr>
          <p:nvPr>
            <p:ph type="sldNum" sz="quarter" idx="2"/>
          </p:nvPr>
        </p:nvSpPr>
        <p:spPr>
          <a:xfrm>
            <a:off x="11089818" y="6404292"/>
            <a:ext cx="263983" cy="26924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2433180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Shape 999"/>
          <p:cNvSpPr>
            <a:spLocks noGrp="1"/>
          </p:cNvSpPr>
          <p:nvPr>
            <p:ph type="title"/>
          </p:nvPr>
        </p:nvSpPr>
        <p:spPr>
          <a:xfrm>
            <a:off x="2416968" y="1151929"/>
            <a:ext cx="7358064" cy="2321720"/>
          </a:xfrm>
          <a:prstGeom prst="rect">
            <a:avLst/>
          </a:prstGeom>
        </p:spPr>
        <p:txBody>
          <a:bodyPr lIns="35718" tIns="35718" rIns="35718" bIns="35718" anchor="b"/>
          <a:lstStyle>
            <a:lvl1pPr algn="ctr" defTabSz="410765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00" name="Shape 1000"/>
          <p:cNvSpPr>
            <a:spLocks noGrp="1"/>
          </p:cNvSpPr>
          <p:nvPr>
            <p:ph type="body" sz="quarter" idx="1"/>
          </p:nvPr>
        </p:nvSpPr>
        <p:spPr>
          <a:xfrm>
            <a:off x="2416968" y="3536156"/>
            <a:ext cx="7358064" cy="794743"/>
          </a:xfrm>
          <a:prstGeom prst="rect">
            <a:avLst/>
          </a:prstGeom>
        </p:spPr>
        <p:txBody>
          <a:bodyPr lIns="35718" tIns="35718" rIns="35718" bIns="35718"/>
          <a:lstStyle>
            <a:lvl1pPr marL="0" indent="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2286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4572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6858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914400" algn="ctr" defTabSz="410765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01" name="Shape 1001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15692444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Shape 1008"/>
          <p:cNvSpPr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lIns="25400" tIns="25400" rIns="25400" bIns="25400" anchor="b"/>
          <a:lstStyle>
            <a:lvl1pPr algn="ctr" defTabSz="412750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09" name="Shape 1009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lIns="25400" tIns="25400" rIns="25400" bIns="25400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2286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10" name="Shape 1010"/>
          <p:cNvSpPr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286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3003507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" name="Shape 1017"/>
          <p:cNvSpPr>
            <a:spLocks noGrp="1"/>
          </p:cNvSpPr>
          <p:nvPr>
            <p:ph type="title"/>
          </p:nvPr>
        </p:nvSpPr>
        <p:spPr>
          <a:xfrm>
            <a:off x="844550" y="476250"/>
            <a:ext cx="10502900" cy="1143000"/>
          </a:xfrm>
          <a:prstGeom prst="rect">
            <a:avLst/>
          </a:prstGeom>
        </p:spPr>
        <p:txBody>
          <a:bodyPr lIns="25400" tIns="25400" rIns="25400" bIns="25400"/>
          <a:lstStyle>
            <a:lvl1pPr algn="ctr" defTabSz="412750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18" name="Shape 1018"/>
          <p:cNvSpPr>
            <a:spLocks noGrp="1"/>
          </p:cNvSpPr>
          <p:nvPr>
            <p:ph type="body" idx="1"/>
          </p:nvPr>
        </p:nvSpPr>
        <p:spPr>
          <a:xfrm>
            <a:off x="844550" y="1619250"/>
            <a:ext cx="10502900" cy="4603750"/>
          </a:xfrm>
          <a:prstGeom prst="rect">
            <a:avLst/>
          </a:prstGeom>
        </p:spPr>
        <p:txBody>
          <a:bodyPr lIns="25400" tIns="25400" rIns="25400" bIns="25400" anchor="ctr"/>
          <a:lstStyle>
            <a:lvl1pPr marL="317500" indent="-317500" defTabSz="412750">
              <a:lnSpc>
                <a:spcPct val="100000"/>
              </a:lnSpc>
              <a:spcBef>
                <a:spcPts val="2900"/>
              </a:spcBef>
              <a:buSzPct val="75000"/>
              <a:buFontTx/>
              <a:defRPr sz="26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952500" indent="-317500" defTabSz="412750">
              <a:lnSpc>
                <a:spcPct val="100000"/>
              </a:lnSpc>
              <a:spcBef>
                <a:spcPts val="2900"/>
              </a:spcBef>
              <a:buSzPct val="75000"/>
              <a:buFontTx/>
              <a:defRPr sz="26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587500" indent="-317500" defTabSz="412750">
              <a:lnSpc>
                <a:spcPct val="100000"/>
              </a:lnSpc>
              <a:spcBef>
                <a:spcPts val="2900"/>
              </a:spcBef>
              <a:buSzPct val="75000"/>
              <a:buFontTx/>
              <a:defRPr sz="26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2222500" indent="-317500" defTabSz="412750">
              <a:lnSpc>
                <a:spcPct val="100000"/>
              </a:lnSpc>
              <a:spcBef>
                <a:spcPts val="2900"/>
              </a:spcBef>
              <a:buSzPct val="75000"/>
              <a:buFontTx/>
              <a:defRPr sz="26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857500" indent="-317500" defTabSz="412750">
              <a:lnSpc>
                <a:spcPct val="100000"/>
              </a:lnSpc>
              <a:spcBef>
                <a:spcPts val="2900"/>
              </a:spcBef>
              <a:buSzPct val="75000"/>
              <a:buFontTx/>
              <a:defRPr sz="26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19" name="Shape 1019"/>
          <p:cNvSpPr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286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7624057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4_Blank">
    <p:bg>
      <p:bgPr>
        <a:solidFill>
          <a:srgbClr val="F3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1026"/>
          <p:cNvSpPr>
            <a:spLocks noGrp="1"/>
          </p:cNvSpPr>
          <p:nvPr>
            <p:ph type="sldNum" sz="quarter" idx="2"/>
          </p:nvPr>
        </p:nvSpPr>
        <p:spPr>
          <a:xfrm>
            <a:off x="5990443" y="6540500"/>
            <a:ext cx="204764" cy="2032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000" b="1">
                <a:solidFill>
                  <a:srgbClr val="45475B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6806174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tandart page (grey bg)">
    <p:bg>
      <p:bgPr>
        <a:solidFill>
          <a:srgbClr val="F3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" name="Shape 1033"/>
          <p:cNvSpPr/>
          <p:nvPr/>
        </p:nvSpPr>
        <p:spPr>
          <a:xfrm>
            <a:off x="11209128" y="5858202"/>
            <a:ext cx="432039" cy="432039"/>
          </a:xfrm>
          <a:prstGeom prst="ellipse">
            <a:avLst/>
          </a:prstGeom>
          <a:gradFill>
            <a:gsLst>
              <a:gs pos="0">
                <a:srgbClr val="2DCC70"/>
              </a:gs>
              <a:gs pos="100000">
                <a:srgbClr val="0365C0"/>
              </a:gs>
            </a:gsLst>
            <a:lin ang="5400000"/>
          </a:gra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034" name="Shape 1034"/>
          <p:cNvSpPr>
            <a:spLocks noGrp="1"/>
          </p:cNvSpPr>
          <p:nvPr>
            <p:ph type="sldNum" sz="quarter" idx="2"/>
          </p:nvPr>
        </p:nvSpPr>
        <p:spPr>
          <a:xfrm>
            <a:off x="11215478" y="5952429"/>
            <a:ext cx="432039" cy="368301"/>
          </a:xfrm>
          <a:prstGeom prst="rect">
            <a:avLst/>
          </a:prstGeom>
        </p:spPr>
        <p:txBody>
          <a:bodyPr wrap="square" lIns="25400" tIns="25400" rIns="25400" bIns="25400" anchor="t"/>
          <a:lstStyle>
            <a:lvl1pPr defTabSz="412750">
              <a:defRPr sz="1100" b="1" cap="all" baseline="109090">
                <a:solidFill>
                  <a:srgbClr val="F3F4F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5064567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tandart page (grey bg)">
    <p:bg>
      <p:bgPr>
        <a:solidFill>
          <a:srgbClr val="F3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Shape 1041"/>
          <p:cNvSpPr/>
          <p:nvPr/>
        </p:nvSpPr>
        <p:spPr>
          <a:xfrm>
            <a:off x="11209128" y="5858202"/>
            <a:ext cx="432039" cy="432039"/>
          </a:xfrm>
          <a:prstGeom prst="ellipse">
            <a:avLst/>
          </a:prstGeom>
          <a:gradFill>
            <a:gsLst>
              <a:gs pos="0">
                <a:srgbClr val="2DCC70"/>
              </a:gs>
              <a:gs pos="100000">
                <a:srgbClr val="0365C0"/>
              </a:gs>
            </a:gsLst>
            <a:lin ang="5400000"/>
          </a:gra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042" name="Shape 1042"/>
          <p:cNvSpPr>
            <a:spLocks noGrp="1"/>
          </p:cNvSpPr>
          <p:nvPr>
            <p:ph type="sldNum" sz="quarter" idx="2"/>
          </p:nvPr>
        </p:nvSpPr>
        <p:spPr>
          <a:xfrm>
            <a:off x="11215478" y="5952429"/>
            <a:ext cx="432039" cy="368301"/>
          </a:xfrm>
          <a:prstGeom prst="rect">
            <a:avLst/>
          </a:prstGeom>
        </p:spPr>
        <p:txBody>
          <a:bodyPr wrap="square" lIns="25400" tIns="25400" rIns="25400" bIns="25400" anchor="t"/>
          <a:lstStyle>
            <a:lvl1pPr defTabSz="412750">
              <a:defRPr sz="1100" b="1" cap="all" baseline="109090">
                <a:solidFill>
                  <a:srgbClr val="F3F4F4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043" name="Shape 1043"/>
          <p:cNvSpPr/>
          <p:nvPr/>
        </p:nvSpPr>
        <p:spPr>
          <a:xfrm rot="16200000">
            <a:off x="8857888" y="2943324"/>
            <a:ext cx="5185317" cy="3683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400" tIns="25400" rIns="25400" bIns="25400" anchor="ctr">
            <a:spAutoFit/>
          </a:bodyPr>
          <a:lstStyle/>
          <a:p>
            <a:pPr defTabSz="412750">
              <a:defRPr sz="1100" b="1" baseline="109090">
                <a:solidFill>
                  <a:srgbClr val="A2A2A2"/>
                </a:solidFill>
                <a:latin typeface="+mn-lt"/>
                <a:ea typeface="+mn-ea"/>
                <a:cs typeface="+mn-cs"/>
                <a:sym typeface="Helvetica"/>
              </a:defRPr>
            </a:pPr>
            <a:r>
              <a:t>Free PowerPoint &amp; Keynote templates by      @site2max, </a:t>
            </a:r>
            <a:r>
              <a:rPr>
                <a:hlinkClick r:id="rId2"/>
              </a:rPr>
              <a:t>www.site2max.pro</a:t>
            </a:r>
          </a:p>
        </p:txBody>
      </p:sp>
      <p:sp>
        <p:nvSpPr>
          <p:cNvPr id="1044" name="Shape 1044"/>
          <p:cNvSpPr/>
          <p:nvPr/>
        </p:nvSpPr>
        <p:spPr>
          <a:xfrm rot="16200000">
            <a:off x="11362621" y="2783941"/>
            <a:ext cx="125051" cy="9967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37" y="5082"/>
                </a:moveTo>
                <a:cubicBezTo>
                  <a:pt x="19237" y="5506"/>
                  <a:pt x="19237" y="5929"/>
                  <a:pt x="19237" y="5929"/>
                </a:cubicBezTo>
                <a:cubicBezTo>
                  <a:pt x="19237" y="13129"/>
                  <a:pt x="14850" y="21600"/>
                  <a:pt x="6750" y="21600"/>
                </a:cubicBezTo>
                <a:cubicBezTo>
                  <a:pt x="4388" y="21600"/>
                  <a:pt x="2025" y="20753"/>
                  <a:pt x="0" y="19059"/>
                </a:cubicBezTo>
                <a:cubicBezTo>
                  <a:pt x="338" y="19059"/>
                  <a:pt x="675" y="19059"/>
                  <a:pt x="1013" y="19059"/>
                </a:cubicBezTo>
                <a:cubicBezTo>
                  <a:pt x="3038" y="19059"/>
                  <a:pt x="5063" y="18212"/>
                  <a:pt x="6413" y="16941"/>
                </a:cubicBezTo>
                <a:cubicBezTo>
                  <a:pt x="4725" y="16941"/>
                  <a:pt x="3038" y="15247"/>
                  <a:pt x="2363" y="13129"/>
                </a:cubicBezTo>
                <a:cubicBezTo>
                  <a:pt x="2700" y="13129"/>
                  <a:pt x="3038" y="13129"/>
                  <a:pt x="3375" y="13129"/>
                </a:cubicBezTo>
                <a:cubicBezTo>
                  <a:pt x="3713" y="13129"/>
                  <a:pt x="4050" y="13129"/>
                  <a:pt x="4388" y="13129"/>
                </a:cubicBezTo>
                <a:cubicBezTo>
                  <a:pt x="2363" y="12282"/>
                  <a:pt x="1013" y="10165"/>
                  <a:pt x="1013" y="7624"/>
                </a:cubicBezTo>
                <a:cubicBezTo>
                  <a:pt x="1013" y="7624"/>
                  <a:pt x="1013" y="7624"/>
                  <a:pt x="1013" y="7624"/>
                </a:cubicBezTo>
                <a:cubicBezTo>
                  <a:pt x="1688" y="8047"/>
                  <a:pt x="2363" y="8047"/>
                  <a:pt x="3038" y="8047"/>
                </a:cubicBezTo>
                <a:cubicBezTo>
                  <a:pt x="1688" y="7200"/>
                  <a:pt x="1013" y="5506"/>
                  <a:pt x="1013" y="3812"/>
                </a:cubicBezTo>
                <a:cubicBezTo>
                  <a:pt x="1013" y="2541"/>
                  <a:pt x="1350" y="1694"/>
                  <a:pt x="1688" y="847"/>
                </a:cubicBezTo>
                <a:cubicBezTo>
                  <a:pt x="3713" y="4235"/>
                  <a:pt x="7088" y="6353"/>
                  <a:pt x="10463" y="6776"/>
                </a:cubicBezTo>
                <a:cubicBezTo>
                  <a:pt x="10463" y="6353"/>
                  <a:pt x="10463" y="5929"/>
                  <a:pt x="10463" y="5506"/>
                </a:cubicBezTo>
                <a:cubicBezTo>
                  <a:pt x="10463" y="2118"/>
                  <a:pt x="12487" y="0"/>
                  <a:pt x="14850" y="0"/>
                </a:cubicBezTo>
                <a:cubicBezTo>
                  <a:pt x="16200" y="0"/>
                  <a:pt x="17212" y="424"/>
                  <a:pt x="18225" y="1694"/>
                </a:cubicBezTo>
                <a:cubicBezTo>
                  <a:pt x="18900" y="1271"/>
                  <a:pt x="19912" y="847"/>
                  <a:pt x="20925" y="424"/>
                </a:cubicBezTo>
                <a:cubicBezTo>
                  <a:pt x="20587" y="1694"/>
                  <a:pt x="19912" y="2541"/>
                  <a:pt x="18900" y="3388"/>
                </a:cubicBezTo>
                <a:cubicBezTo>
                  <a:pt x="19912" y="2965"/>
                  <a:pt x="20587" y="2965"/>
                  <a:pt x="21600" y="2541"/>
                </a:cubicBezTo>
                <a:cubicBezTo>
                  <a:pt x="20925" y="3388"/>
                  <a:pt x="20250" y="4659"/>
                  <a:pt x="19237" y="5082"/>
                </a:cubicBezTo>
                <a:close/>
              </a:path>
            </a:pathLst>
          </a:custGeom>
          <a:gradFill>
            <a:gsLst>
              <a:gs pos="0">
                <a:srgbClr val="2DCC70"/>
              </a:gs>
              <a:gs pos="100000">
                <a:srgbClr val="0365C0"/>
              </a:gs>
            </a:gsLst>
            <a:lin ang="5400000"/>
          </a:gradFill>
          <a:ln w="3175">
            <a:miter lim="400000"/>
          </a:ln>
        </p:spPr>
        <p:txBody>
          <a:bodyPr lIns="22859" tIns="22859" rIns="22859" bIns="22859"/>
          <a:lstStyle/>
          <a:p>
            <a:pPr defTabSz="228600">
              <a:defRPr sz="1200">
                <a:solidFill>
                  <a:srgbClr val="BED2E1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93970431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" name="Shape 1051"/>
          <p:cNvSpPr>
            <a:spLocks noGrp="1"/>
          </p:cNvSpPr>
          <p:nvPr>
            <p:ph type="title"/>
          </p:nvPr>
        </p:nvSpPr>
        <p:spPr>
          <a:xfrm>
            <a:off x="2193722" y="312538"/>
            <a:ext cx="7804556" cy="1518052"/>
          </a:xfrm>
          <a:prstGeom prst="rect">
            <a:avLst/>
          </a:prstGeom>
        </p:spPr>
        <p:txBody>
          <a:bodyPr lIns="35718" tIns="35718" rIns="35718" bIns="35718"/>
          <a:lstStyle>
            <a:lvl1pPr algn="ctr" defTabSz="410765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52" name="Shape 1052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175491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Standard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3101" y="1623484"/>
            <a:ext cx="10847919" cy="461433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E069159-ABDA-489C-A492-32B9EFA52CB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3510801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" name="Shape 1059"/>
          <p:cNvSpPr>
            <a:spLocks noGrp="1"/>
          </p:cNvSpPr>
          <p:nvPr>
            <p:ph type="title"/>
          </p:nvPr>
        </p:nvSpPr>
        <p:spPr>
          <a:xfrm>
            <a:off x="1826682" y="769935"/>
            <a:ext cx="9753603" cy="1668465"/>
          </a:xfrm>
          <a:prstGeom prst="rect">
            <a:avLst/>
          </a:prstGeom>
        </p:spPr>
        <p:txBody>
          <a:bodyPr lIns="60957" tIns="60957" rIns="60957" bIns="60957"/>
          <a:lstStyle>
            <a:lvl1pPr algn="ctr" defTabSz="1219200">
              <a:lnSpc>
                <a:spcPct val="100000"/>
              </a:lnSpc>
              <a:defRPr sz="5800">
                <a:solidFill>
                  <a:srgbClr val="051423"/>
                </a:solidFill>
                <a:latin typeface="Gill Sans"/>
                <a:ea typeface="Gill Sans"/>
                <a:cs typeface="Gill Sans"/>
                <a:sym typeface="Gill San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60" name="Shape 1060"/>
          <p:cNvSpPr>
            <a:spLocks noGrp="1"/>
          </p:cNvSpPr>
          <p:nvPr>
            <p:ph type="sldNum" sz="quarter" idx="2"/>
          </p:nvPr>
        </p:nvSpPr>
        <p:spPr>
          <a:xfrm>
            <a:off x="8581899" y="6356349"/>
            <a:ext cx="311400" cy="312416"/>
          </a:xfrm>
          <a:prstGeom prst="rect">
            <a:avLst/>
          </a:prstGeom>
        </p:spPr>
        <p:txBody>
          <a:bodyPr lIns="60957" tIns="60957" rIns="60957" bIns="60957" anchor="t"/>
          <a:lstStyle>
            <a:lvl1pPr defTabSz="1219200">
              <a:defRPr sz="1200">
                <a:solidFill>
                  <a:srgbClr val="051423">
                    <a:alpha val="30000"/>
                  </a:srgbClr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7924849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ull Image with all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Shape 1067"/>
          <p:cNvSpPr/>
          <p:nvPr/>
        </p:nvSpPr>
        <p:spPr>
          <a:xfrm rot="10800000" flipH="1">
            <a:off x="1" y="6459368"/>
            <a:ext cx="12196782" cy="396839"/>
          </a:xfrm>
          <a:prstGeom prst="rect">
            <a:avLst/>
          </a:prstGeom>
          <a:solidFill>
            <a:srgbClr val="F2F2F2">
              <a:alpha val="90000"/>
            </a:srgbClr>
          </a:solidFill>
          <a:ln w="12700">
            <a:miter lim="400000"/>
          </a:ln>
        </p:spPr>
        <p:txBody>
          <a:bodyPr lIns="60957" tIns="60957" rIns="60957" bIns="60957"/>
          <a:lstStyle/>
          <a:p>
            <a:pPr algn="ctr" defTabSz="1219200">
              <a:defRPr sz="2800" u="sng">
                <a:latin typeface="Gill Sans"/>
                <a:ea typeface="Gill Sans"/>
                <a:cs typeface="Gill Sans"/>
                <a:sym typeface="Gill Sans"/>
              </a:defRPr>
            </a:pPr>
            <a:endParaRPr/>
          </a:p>
        </p:txBody>
      </p:sp>
      <p:grpSp>
        <p:nvGrpSpPr>
          <p:cNvPr id="1070" name="Group 1070"/>
          <p:cNvGrpSpPr/>
          <p:nvPr/>
        </p:nvGrpSpPr>
        <p:grpSpPr>
          <a:xfrm>
            <a:off x="949269" y="6585516"/>
            <a:ext cx="118142" cy="117993"/>
            <a:chOff x="-1" y="-1"/>
            <a:chExt cx="118141" cy="117991"/>
          </a:xfrm>
        </p:grpSpPr>
        <p:sp>
          <p:nvSpPr>
            <p:cNvPr id="1068" name="Shape 1068">
              <a:hlinkClick r:id="" action="ppaction://hlinkshowjump?jump=nextslide"/>
            </p:cNvPr>
            <p:cNvSpPr/>
            <p:nvPr/>
          </p:nvSpPr>
          <p:spPr>
            <a:xfrm>
              <a:off x="-2" y="-2"/>
              <a:ext cx="118143" cy="117993"/>
            </a:xfrm>
            <a:prstGeom prst="ellipse">
              <a:avLst/>
            </a:prstGeom>
            <a:noFill/>
            <a:ln w="12700" cap="flat">
              <a:solidFill>
                <a:srgbClr val="051423">
                  <a:alpha val="30000"/>
                </a:srgbClr>
              </a:solidFill>
              <a:prstDash val="solid"/>
              <a:miter lim="800000"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pPr algn="ctr" defTabSz="1219200">
                <a:defRPr sz="2800"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  <p:sp>
          <p:nvSpPr>
            <p:cNvPr id="1069" name="Shape 1069">
              <a:hlinkClick r:id="" action="ppaction://hlinkshowjump?jump=nextslide"/>
            </p:cNvPr>
            <p:cNvSpPr/>
            <p:nvPr/>
          </p:nvSpPr>
          <p:spPr>
            <a:xfrm rot="5400000">
              <a:off x="32177" y="38546"/>
              <a:ext cx="60133" cy="38633"/>
            </a:xfrm>
            <a:prstGeom prst="triangle">
              <a:avLst/>
            </a:prstGeom>
            <a:solidFill>
              <a:srgbClr val="051423">
                <a:alpha val="3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pPr algn="ctr" defTabSz="1219200">
                <a:defRPr sz="2800"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grpSp>
        <p:nvGrpSpPr>
          <p:cNvPr id="1073" name="Group 1073"/>
          <p:cNvGrpSpPr/>
          <p:nvPr/>
        </p:nvGrpSpPr>
        <p:grpSpPr>
          <a:xfrm>
            <a:off x="335343" y="6584412"/>
            <a:ext cx="119060" cy="119454"/>
            <a:chOff x="0" y="0"/>
            <a:chExt cx="119058" cy="119453"/>
          </a:xfrm>
        </p:grpSpPr>
        <p:sp>
          <p:nvSpPr>
            <p:cNvPr id="1071" name="Shape 1071">
              <a:hlinkClick r:id="" action="ppaction://hlinkshowjump?jump=previousslide"/>
            </p:cNvPr>
            <p:cNvSpPr/>
            <p:nvPr/>
          </p:nvSpPr>
          <p:spPr>
            <a:xfrm rot="10800000">
              <a:off x="-1" y="0"/>
              <a:ext cx="119060" cy="119454"/>
            </a:xfrm>
            <a:prstGeom prst="ellipse">
              <a:avLst/>
            </a:prstGeom>
            <a:noFill/>
            <a:ln w="12700" cap="flat">
              <a:solidFill>
                <a:srgbClr val="051423">
                  <a:alpha val="30000"/>
                </a:srgbClr>
              </a:solidFill>
              <a:prstDash val="solid"/>
              <a:miter lim="800000"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pPr algn="ctr" defTabSz="1219200">
                <a:defRPr sz="2800"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  <p:sp>
          <p:nvSpPr>
            <p:cNvPr id="1072" name="Shape 1072">
              <a:hlinkClick r:id="" action="ppaction://hlinkshowjump?jump=previousslide"/>
            </p:cNvPr>
            <p:cNvSpPr/>
            <p:nvPr/>
          </p:nvSpPr>
          <p:spPr>
            <a:xfrm rot="16200000">
              <a:off x="21070" y="36619"/>
              <a:ext cx="60886" cy="38929"/>
            </a:xfrm>
            <a:prstGeom prst="triangle">
              <a:avLst/>
            </a:prstGeom>
            <a:solidFill>
              <a:srgbClr val="051423">
                <a:alpha val="30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60957" tIns="60957" rIns="60957" bIns="60957" numCol="1" anchor="t">
              <a:noAutofit/>
            </a:bodyPr>
            <a:lstStyle/>
            <a:p>
              <a:pPr algn="ctr" defTabSz="1219200">
                <a:defRPr sz="2800">
                  <a:latin typeface="Gill Sans"/>
                  <a:ea typeface="Gill Sans"/>
                  <a:cs typeface="Gill Sans"/>
                  <a:sym typeface="Gill Sans"/>
                </a:defRPr>
              </a:pPr>
              <a:endParaRPr/>
            </a:p>
          </p:txBody>
        </p:sp>
      </p:grpSp>
      <p:sp>
        <p:nvSpPr>
          <p:cNvPr id="1074" name="Shape 1074"/>
          <p:cNvSpPr>
            <a:spLocks noGrp="1"/>
          </p:cNvSpPr>
          <p:nvPr>
            <p:ph type="sldNum" sz="quarter" idx="2"/>
          </p:nvPr>
        </p:nvSpPr>
        <p:spPr>
          <a:xfrm>
            <a:off x="546193" y="6480125"/>
            <a:ext cx="311399" cy="312416"/>
          </a:xfrm>
          <a:prstGeom prst="rect">
            <a:avLst/>
          </a:prstGeom>
        </p:spPr>
        <p:txBody>
          <a:bodyPr lIns="60957" tIns="60957" rIns="60957" bIns="60957" anchor="t"/>
          <a:lstStyle>
            <a:lvl1pPr defTabSz="1219200">
              <a:defRPr sz="1200">
                <a:solidFill>
                  <a:srgbClr val="051423">
                    <a:alpha val="30000"/>
                  </a:srgbClr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8638341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Shape 1081"/>
          <p:cNvSpPr>
            <a:spLocks noGrp="1"/>
          </p:cNvSpPr>
          <p:nvPr>
            <p:ph type="title"/>
          </p:nvPr>
        </p:nvSpPr>
        <p:spPr>
          <a:xfrm>
            <a:off x="2193726" y="312538"/>
            <a:ext cx="7804548" cy="1518048"/>
          </a:xfrm>
          <a:prstGeom prst="rect">
            <a:avLst/>
          </a:prstGeom>
        </p:spPr>
        <p:txBody>
          <a:bodyPr lIns="35718" tIns="35718" rIns="35718" bIns="35718"/>
          <a:lstStyle>
            <a:lvl1pPr algn="ctr" defTabSz="410765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82" name="Shape 1082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3315569"/>
      </p:ext>
    </p:extLst>
  </p:cSld>
  <p:clrMapOvr>
    <a:masterClrMapping/>
  </p:clrMapOvr>
  <p:transition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" name="Shape 1089"/>
          <p:cNvSpPr>
            <a:spLocks noGrp="1"/>
          </p:cNvSpPr>
          <p:nvPr>
            <p:ph type="title"/>
          </p:nvPr>
        </p:nvSpPr>
        <p:spPr>
          <a:xfrm>
            <a:off x="2193725" y="312538"/>
            <a:ext cx="7804551" cy="1518049"/>
          </a:xfrm>
          <a:prstGeom prst="rect">
            <a:avLst/>
          </a:prstGeom>
        </p:spPr>
        <p:txBody>
          <a:bodyPr lIns="35718" tIns="35718" rIns="35718" bIns="35718"/>
          <a:lstStyle>
            <a:lvl1pPr algn="ctr" defTabSz="410765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90" name="Shape 1090"/>
          <p:cNvSpPr>
            <a:spLocks noGrp="1"/>
          </p:cNvSpPr>
          <p:nvPr>
            <p:ph type="body" idx="1"/>
          </p:nvPr>
        </p:nvSpPr>
        <p:spPr>
          <a:xfrm>
            <a:off x="2193725" y="1830585"/>
            <a:ext cx="7804551" cy="4420197"/>
          </a:xfrm>
          <a:prstGeom prst="rect">
            <a:avLst/>
          </a:prstGeom>
        </p:spPr>
        <p:txBody>
          <a:bodyPr lIns="35718" tIns="35718" rIns="35718" bIns="35718" anchor="ctr"/>
          <a:lstStyle>
            <a:lvl1pPr marL="296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08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85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298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74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91" name="Shape 1091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0358014"/>
      </p:ext>
    </p:extLst>
  </p:cSld>
  <p:clrMapOvr>
    <a:masterClrMapping/>
  </p:clrMapOvr>
  <p:transition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Shape 1098"/>
          <p:cNvSpPr>
            <a:spLocks noGrp="1"/>
          </p:cNvSpPr>
          <p:nvPr>
            <p:ph type="title"/>
          </p:nvPr>
        </p:nvSpPr>
        <p:spPr>
          <a:xfrm>
            <a:off x="1060920" y="1139707"/>
            <a:ext cx="8241360" cy="1088418"/>
          </a:xfrm>
          <a:prstGeom prst="rect">
            <a:avLst/>
          </a:prstGeom>
        </p:spPr>
        <p:txBody>
          <a:bodyPr lIns="19050" tIns="19050" rIns="19050" bIns="19050" anchor="t"/>
          <a:lstStyle>
            <a:lvl1pPr defTabSz="412750">
              <a:defRPr sz="5400" b="1">
                <a:solidFill>
                  <a:srgbClr val="282828"/>
                </a:solidFill>
                <a:latin typeface="+mn-lt"/>
                <a:ea typeface="+mn-ea"/>
                <a:cs typeface="+mn-cs"/>
                <a:sym typeface="Helvetic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99" name="Shape 1099"/>
          <p:cNvSpPr>
            <a:spLocks noGrp="1"/>
          </p:cNvSpPr>
          <p:nvPr>
            <p:ph type="sldNum" sz="quarter" idx="2"/>
          </p:nvPr>
        </p:nvSpPr>
        <p:spPr>
          <a:xfrm>
            <a:off x="11627967" y="6382040"/>
            <a:ext cx="303955" cy="177801"/>
          </a:xfrm>
          <a:prstGeom prst="rect">
            <a:avLst/>
          </a:prstGeom>
        </p:spPr>
        <p:txBody>
          <a:bodyPr wrap="square" lIns="19050" tIns="19050" rIns="19050" bIns="19050" anchor="t"/>
          <a:lstStyle>
            <a:lvl1pPr defTabSz="412750">
              <a:defRPr sz="900" cap="all" spc="18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0855565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" name="Shape 1106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07" name="Shape 1107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08" name="Shape 1108"/>
          <p:cNvSpPr/>
          <p:nvPr/>
        </p:nvSpPr>
        <p:spPr>
          <a:xfrm>
            <a:off x="7121787" y="1794445"/>
            <a:ext cx="3269110" cy="3269110"/>
          </a:xfrm>
          <a:prstGeom prst="ellipse">
            <a:avLst/>
          </a:pr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09" name="Shape 1109"/>
          <p:cNvSpPr>
            <a:spLocks noGrp="1"/>
          </p:cNvSpPr>
          <p:nvPr>
            <p:ph type="pic" sz="quarter" idx="13"/>
          </p:nvPr>
        </p:nvSpPr>
        <p:spPr>
          <a:xfrm>
            <a:off x="7121787" y="1794445"/>
            <a:ext cx="3269110" cy="32691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10" name="Shape 1110"/>
          <p:cNvSpPr/>
          <p:nvPr/>
        </p:nvSpPr>
        <p:spPr>
          <a:xfrm flipH="1">
            <a:off x="460375" y="-15550"/>
            <a:ext cx="1" cy="2137439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11" name="Shape 1111"/>
          <p:cNvSpPr/>
          <p:nvPr/>
        </p:nvSpPr>
        <p:spPr>
          <a:xfrm flipH="1">
            <a:off x="646641" y="-15550"/>
            <a:ext cx="1" cy="730896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567538558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" name="Shape 1118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19" name="Shape 1119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20" name="Shape 1120"/>
          <p:cNvSpPr/>
          <p:nvPr/>
        </p:nvSpPr>
        <p:spPr>
          <a:xfrm>
            <a:off x="1795856" y="-2646"/>
            <a:ext cx="8179005" cy="22555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572" y="3870"/>
                  <a:pt x="1368" y="7496"/>
                  <a:pt x="2387" y="10687"/>
                </a:cubicBezTo>
                <a:cubicBezTo>
                  <a:pt x="4710" y="17962"/>
                  <a:pt x="7755" y="21600"/>
                  <a:pt x="10800" y="21600"/>
                </a:cubicBezTo>
                <a:cubicBezTo>
                  <a:pt x="13845" y="21600"/>
                  <a:pt x="16890" y="17962"/>
                  <a:pt x="19213" y="10687"/>
                </a:cubicBezTo>
                <a:cubicBezTo>
                  <a:pt x="20232" y="7496"/>
                  <a:pt x="21028" y="3870"/>
                  <a:pt x="2160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E7EAED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21" name="Shape 1121"/>
          <p:cNvSpPr/>
          <p:nvPr/>
        </p:nvSpPr>
        <p:spPr>
          <a:xfrm>
            <a:off x="3138487" y="-17265"/>
            <a:ext cx="5493743" cy="26820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9635" extrusionOk="0">
                <a:moveTo>
                  <a:pt x="0" y="0"/>
                </a:moveTo>
                <a:cubicBezTo>
                  <a:pt x="64" y="4986"/>
                  <a:pt x="1115" y="9937"/>
                  <a:pt x="3159" y="13742"/>
                </a:cubicBezTo>
                <a:cubicBezTo>
                  <a:pt x="7379" y="21600"/>
                  <a:pt x="14221" y="21600"/>
                  <a:pt x="18441" y="13742"/>
                </a:cubicBezTo>
                <a:cubicBezTo>
                  <a:pt x="20485" y="9937"/>
                  <a:pt x="21536" y="4986"/>
                  <a:pt x="21600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22" name="Shape 1122"/>
          <p:cNvSpPr>
            <a:spLocks noGrp="1"/>
          </p:cNvSpPr>
          <p:nvPr>
            <p:ph type="pic" sz="quarter" idx="13"/>
          </p:nvPr>
        </p:nvSpPr>
        <p:spPr>
          <a:xfrm>
            <a:off x="3138462" y="-17265"/>
            <a:ext cx="5493743" cy="268202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9749386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" name="Shape 1129"/>
          <p:cNvSpPr>
            <a:spLocks noGrp="1"/>
          </p:cNvSpPr>
          <p:nvPr>
            <p:ph type="pic" sz="quarter" idx="13"/>
          </p:nvPr>
        </p:nvSpPr>
        <p:spPr>
          <a:xfrm>
            <a:off x="4534991" y="1014551"/>
            <a:ext cx="3122058" cy="312205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30" name="Shape 1130"/>
          <p:cNvSpPr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286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5457801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" name="Shape 1137"/>
          <p:cNvSpPr>
            <a:spLocks noGrp="1"/>
          </p:cNvSpPr>
          <p:nvPr>
            <p:ph type="pic" sz="half" idx="13"/>
          </p:nvPr>
        </p:nvSpPr>
        <p:spPr>
          <a:xfrm>
            <a:off x="-3109" y="-1"/>
            <a:ext cx="3380185" cy="6858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38" name="Shape 1138"/>
          <p:cNvSpPr>
            <a:spLocks noGrp="1"/>
          </p:cNvSpPr>
          <p:nvPr>
            <p:ph type="pic" sz="half" idx="14"/>
          </p:nvPr>
        </p:nvSpPr>
        <p:spPr>
          <a:xfrm>
            <a:off x="8812807" y="-1"/>
            <a:ext cx="3380186" cy="6858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39" name="Shape 1139"/>
          <p:cNvSpPr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286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158369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5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" name="Shape 1146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47" name="Shape 1147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48" name="Shape 1148"/>
          <p:cNvSpPr>
            <a:spLocks noGrp="1"/>
          </p:cNvSpPr>
          <p:nvPr>
            <p:ph type="pic" sz="quarter" idx="13"/>
          </p:nvPr>
        </p:nvSpPr>
        <p:spPr>
          <a:xfrm>
            <a:off x="7111802" y="2589615"/>
            <a:ext cx="2274594" cy="227459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49" name="Shape 1149"/>
          <p:cNvSpPr>
            <a:spLocks noGrp="1"/>
          </p:cNvSpPr>
          <p:nvPr>
            <p:ph type="pic" sz="quarter" idx="14"/>
          </p:nvPr>
        </p:nvSpPr>
        <p:spPr>
          <a:xfrm>
            <a:off x="2734212" y="653653"/>
            <a:ext cx="3061481" cy="306148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50" name="Shape 1150"/>
          <p:cNvSpPr>
            <a:spLocks noGrp="1"/>
          </p:cNvSpPr>
          <p:nvPr>
            <p:ph type="pic" sz="quarter" idx="15"/>
          </p:nvPr>
        </p:nvSpPr>
        <p:spPr>
          <a:xfrm>
            <a:off x="9201019" y="1814932"/>
            <a:ext cx="985446" cy="98544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51" name="Shape 1151"/>
          <p:cNvSpPr>
            <a:spLocks noGrp="1"/>
          </p:cNvSpPr>
          <p:nvPr>
            <p:ph type="pic" sz="quarter" idx="16"/>
          </p:nvPr>
        </p:nvSpPr>
        <p:spPr>
          <a:xfrm>
            <a:off x="6387049" y="1374417"/>
            <a:ext cx="1205976" cy="120597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52" name="Shape 1152"/>
          <p:cNvSpPr>
            <a:spLocks noGrp="1"/>
          </p:cNvSpPr>
          <p:nvPr>
            <p:ph type="pic" sz="quarter" idx="17"/>
          </p:nvPr>
        </p:nvSpPr>
        <p:spPr>
          <a:xfrm>
            <a:off x="2005550" y="3661293"/>
            <a:ext cx="1051906" cy="105190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9363907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1800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A4EE19E-E41D-40A4-A09A-888FA8E2FB8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5879" cy="6863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2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9124356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" name="Shape 1159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60" name="Shape 1160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61" name="Shape 1161"/>
          <p:cNvSpPr>
            <a:spLocks noGrp="1"/>
          </p:cNvSpPr>
          <p:nvPr>
            <p:ph type="pic" sz="quarter" idx="13"/>
          </p:nvPr>
        </p:nvSpPr>
        <p:spPr>
          <a:xfrm>
            <a:off x="-12700" y="2789584"/>
            <a:ext cx="2730997" cy="127883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62" name="Shape 1162"/>
          <p:cNvSpPr>
            <a:spLocks noGrp="1"/>
          </p:cNvSpPr>
          <p:nvPr>
            <p:ph type="pic" sz="quarter" idx="14"/>
          </p:nvPr>
        </p:nvSpPr>
        <p:spPr>
          <a:xfrm>
            <a:off x="2717800" y="2789584"/>
            <a:ext cx="2730997" cy="127883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63" name="Shape 1163"/>
          <p:cNvSpPr>
            <a:spLocks noGrp="1"/>
          </p:cNvSpPr>
          <p:nvPr>
            <p:ph type="pic" sz="quarter" idx="15"/>
          </p:nvPr>
        </p:nvSpPr>
        <p:spPr>
          <a:xfrm>
            <a:off x="5439833" y="2789584"/>
            <a:ext cx="2730997" cy="127883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7067509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" name="Shape 1170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71" name="Shape 1171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72" name="Shape 1172"/>
          <p:cNvSpPr/>
          <p:nvPr/>
        </p:nvSpPr>
        <p:spPr>
          <a:xfrm>
            <a:off x="1399381" y="4272954"/>
            <a:ext cx="9393238" cy="25904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7755" y="0"/>
                  <a:pt x="4710" y="3638"/>
                  <a:pt x="2387" y="10913"/>
                </a:cubicBezTo>
                <a:cubicBezTo>
                  <a:pt x="1368" y="14104"/>
                  <a:pt x="572" y="17730"/>
                  <a:pt x="0" y="21600"/>
                </a:cubicBezTo>
                <a:lnTo>
                  <a:pt x="21600" y="21600"/>
                </a:lnTo>
                <a:cubicBezTo>
                  <a:pt x="21028" y="17730"/>
                  <a:pt x="20232" y="14104"/>
                  <a:pt x="19213" y="10913"/>
                </a:cubicBezTo>
                <a:cubicBezTo>
                  <a:pt x="16890" y="3638"/>
                  <a:pt x="13845" y="0"/>
                  <a:pt x="10800" y="0"/>
                </a:cubicBezTo>
                <a:close/>
              </a:path>
            </a:pathLst>
          </a:cu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73" name="Shape 1173"/>
          <p:cNvSpPr/>
          <p:nvPr/>
        </p:nvSpPr>
        <p:spPr>
          <a:xfrm>
            <a:off x="1399381" y="4272954"/>
            <a:ext cx="9393238" cy="259040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7755" y="0"/>
                  <a:pt x="4710" y="3638"/>
                  <a:pt x="2387" y="10913"/>
                </a:cubicBezTo>
                <a:cubicBezTo>
                  <a:pt x="1368" y="14104"/>
                  <a:pt x="572" y="17730"/>
                  <a:pt x="0" y="21600"/>
                </a:cubicBezTo>
                <a:lnTo>
                  <a:pt x="21600" y="21600"/>
                </a:lnTo>
                <a:cubicBezTo>
                  <a:pt x="21028" y="17730"/>
                  <a:pt x="20232" y="14104"/>
                  <a:pt x="19213" y="10913"/>
                </a:cubicBezTo>
                <a:cubicBezTo>
                  <a:pt x="16890" y="3638"/>
                  <a:pt x="13845" y="0"/>
                  <a:pt x="10800" y="0"/>
                </a:cubicBezTo>
                <a:close/>
              </a:path>
            </a:pathLst>
          </a:cu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74" name="Shape 1174"/>
          <p:cNvSpPr>
            <a:spLocks noGrp="1"/>
          </p:cNvSpPr>
          <p:nvPr>
            <p:ph type="pic" sz="half" idx="13"/>
          </p:nvPr>
        </p:nvSpPr>
        <p:spPr>
          <a:xfrm>
            <a:off x="1477863" y="4319984"/>
            <a:ext cx="9236249" cy="254711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75" name="Shape 1175"/>
          <p:cNvSpPr>
            <a:spLocks noGrp="1"/>
          </p:cNvSpPr>
          <p:nvPr>
            <p:ph type="pic" sz="quarter" idx="14"/>
          </p:nvPr>
        </p:nvSpPr>
        <p:spPr>
          <a:xfrm>
            <a:off x="8191499" y="4282281"/>
            <a:ext cx="1420284" cy="1420284"/>
          </a:xfrm>
          <a:prstGeom prst="rect">
            <a:avLst/>
          </a:prstGeom>
          <a:ln w="25400">
            <a:solidFill>
              <a:srgbClr val="000000"/>
            </a:solidFill>
          </a:ln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22993519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" name="Shape 1182"/>
          <p:cNvSpPr/>
          <p:nvPr/>
        </p:nvSpPr>
        <p:spPr>
          <a:xfrm>
            <a:off x="-8622" y="2904620"/>
            <a:ext cx="12209244" cy="39673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15948"/>
                </a:moveTo>
                <a:lnTo>
                  <a:pt x="4725" y="2411"/>
                </a:lnTo>
                <a:lnTo>
                  <a:pt x="7720" y="9555"/>
                </a:lnTo>
                <a:lnTo>
                  <a:pt x="9824" y="0"/>
                </a:lnTo>
                <a:lnTo>
                  <a:pt x="12839" y="7216"/>
                </a:lnTo>
                <a:lnTo>
                  <a:pt x="15203" y="2669"/>
                </a:lnTo>
                <a:lnTo>
                  <a:pt x="18005" y="9957"/>
                </a:lnTo>
                <a:lnTo>
                  <a:pt x="19593" y="4708"/>
                </a:lnTo>
                <a:lnTo>
                  <a:pt x="21600" y="11344"/>
                </a:lnTo>
                <a:lnTo>
                  <a:pt x="21600" y="21600"/>
                </a:lnTo>
                <a:lnTo>
                  <a:pt x="8" y="21600"/>
                </a:lnTo>
                <a:lnTo>
                  <a:pt x="0" y="15948"/>
                </a:lnTo>
                <a:close/>
              </a:path>
            </a:pathLst>
          </a:cu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83" name="Shape 1183"/>
          <p:cNvSpPr>
            <a:spLocks noGrp="1"/>
          </p:cNvSpPr>
          <p:nvPr>
            <p:ph type="pic" idx="13"/>
          </p:nvPr>
        </p:nvSpPr>
        <p:spPr>
          <a:xfrm>
            <a:off x="-8633" y="1240900"/>
            <a:ext cx="12209244" cy="396732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84" name="Shape 1184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77967065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Shape 1191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192" name="Shape 1192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93" name="Shape 1193"/>
          <p:cNvSpPr>
            <a:spLocks noGrp="1"/>
          </p:cNvSpPr>
          <p:nvPr>
            <p:ph type="pic" sz="quarter" idx="13"/>
          </p:nvPr>
        </p:nvSpPr>
        <p:spPr>
          <a:xfrm>
            <a:off x="4825735" y="1818328"/>
            <a:ext cx="2527663" cy="252766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7560418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a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" name="Shape 1200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01" name="Shape 1201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02" name="Shape 1202"/>
          <p:cNvSpPr>
            <a:spLocks noGrp="1"/>
          </p:cNvSpPr>
          <p:nvPr>
            <p:ph type="pic" sz="quarter" idx="13"/>
          </p:nvPr>
        </p:nvSpPr>
        <p:spPr>
          <a:xfrm>
            <a:off x="5322754" y="2653778"/>
            <a:ext cx="1550491" cy="155049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31145449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a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9" name="Shape 1209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10" name="Shape 1210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11" name="Shape 1211"/>
          <p:cNvSpPr>
            <a:spLocks noGrp="1"/>
          </p:cNvSpPr>
          <p:nvPr>
            <p:ph type="pic" sz="quarter" idx="13"/>
          </p:nvPr>
        </p:nvSpPr>
        <p:spPr>
          <a:xfrm>
            <a:off x="4588139" y="1400193"/>
            <a:ext cx="3006956" cy="300695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17448690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Shape 1218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19" name="Shape 1219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20" name="Shape 1220"/>
          <p:cNvSpPr/>
          <p:nvPr/>
        </p:nvSpPr>
        <p:spPr>
          <a:xfrm>
            <a:off x="66" y="-4168"/>
            <a:ext cx="6641990" cy="68663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62" h="21379" extrusionOk="0">
                <a:moveTo>
                  <a:pt x="0" y="0"/>
                </a:moveTo>
                <a:lnTo>
                  <a:pt x="0" y="21378"/>
                </a:lnTo>
                <a:lnTo>
                  <a:pt x="9485" y="21378"/>
                </a:lnTo>
                <a:lnTo>
                  <a:pt x="9485" y="21368"/>
                </a:lnTo>
                <a:cubicBezTo>
                  <a:pt x="12352" y="21489"/>
                  <a:pt x="15260" y="20450"/>
                  <a:pt x="17449" y="18248"/>
                </a:cubicBezTo>
                <a:cubicBezTo>
                  <a:pt x="21600" y="14073"/>
                  <a:pt x="21600" y="7305"/>
                  <a:pt x="17449" y="3130"/>
                </a:cubicBezTo>
                <a:cubicBezTo>
                  <a:pt x="15260" y="928"/>
                  <a:pt x="12352" y="-111"/>
                  <a:pt x="9485" y="10"/>
                </a:cubicBezTo>
                <a:lnTo>
                  <a:pt x="9485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21" name="Shape 1221"/>
          <p:cNvSpPr>
            <a:spLocks noGrp="1"/>
          </p:cNvSpPr>
          <p:nvPr>
            <p:ph type="pic" idx="13"/>
          </p:nvPr>
        </p:nvSpPr>
        <p:spPr>
          <a:xfrm>
            <a:off x="66" y="-4168"/>
            <a:ext cx="6641990" cy="686633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84926688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4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Shape 1228"/>
          <p:cNvSpPr/>
          <p:nvPr/>
        </p:nvSpPr>
        <p:spPr>
          <a:xfrm>
            <a:off x="5554177" y="-4168"/>
            <a:ext cx="6641991" cy="68663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62" h="21379" extrusionOk="0">
                <a:moveTo>
                  <a:pt x="11077" y="0"/>
                </a:moveTo>
                <a:lnTo>
                  <a:pt x="11077" y="10"/>
                </a:lnTo>
                <a:cubicBezTo>
                  <a:pt x="8210" y="-111"/>
                  <a:pt x="5302" y="928"/>
                  <a:pt x="3113" y="3130"/>
                </a:cubicBezTo>
                <a:cubicBezTo>
                  <a:pt x="-1038" y="7305"/>
                  <a:pt x="-1038" y="14073"/>
                  <a:pt x="3113" y="18248"/>
                </a:cubicBezTo>
                <a:cubicBezTo>
                  <a:pt x="5302" y="20450"/>
                  <a:pt x="8210" y="21489"/>
                  <a:pt x="11077" y="21368"/>
                </a:cubicBezTo>
                <a:lnTo>
                  <a:pt x="11077" y="21378"/>
                </a:lnTo>
                <a:lnTo>
                  <a:pt x="20562" y="21378"/>
                </a:lnTo>
                <a:lnTo>
                  <a:pt x="20562" y="0"/>
                </a:lnTo>
                <a:lnTo>
                  <a:pt x="11077" y="0"/>
                </a:lnTo>
                <a:close/>
              </a:path>
            </a:pathLst>
          </a:cu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29" name="Shape 1229"/>
          <p:cNvSpPr>
            <a:spLocks noGrp="1"/>
          </p:cNvSpPr>
          <p:nvPr>
            <p:ph type="pic" idx="13"/>
          </p:nvPr>
        </p:nvSpPr>
        <p:spPr>
          <a:xfrm>
            <a:off x="5554177" y="-4168"/>
            <a:ext cx="6641991" cy="686633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30" name="Shape 1230"/>
          <p:cNvSpPr/>
          <p:nvPr/>
        </p:nvSpPr>
        <p:spPr>
          <a:xfrm flipH="1">
            <a:off x="460375" y="-15550"/>
            <a:ext cx="1" cy="2137439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31" name="Shape 1231"/>
          <p:cNvSpPr/>
          <p:nvPr/>
        </p:nvSpPr>
        <p:spPr>
          <a:xfrm flipH="1">
            <a:off x="646641" y="-15550"/>
            <a:ext cx="1" cy="730896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32" name="Shape 1232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861435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number-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" name="Shape 1239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40" name="Shape 1240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41" name="Shape 1241"/>
          <p:cNvSpPr/>
          <p:nvPr/>
        </p:nvSpPr>
        <p:spPr>
          <a:xfrm flipH="1">
            <a:off x="460375" y="-15550"/>
            <a:ext cx="1" cy="730896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48399499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8" name="Shape 1248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49" name="Shape 1249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50" name="Shape 1250"/>
          <p:cNvSpPr>
            <a:spLocks noGrp="1"/>
          </p:cNvSpPr>
          <p:nvPr>
            <p:ph type="pic" sz="quarter" idx="13"/>
          </p:nvPr>
        </p:nvSpPr>
        <p:spPr>
          <a:xfrm>
            <a:off x="891116" y="950383"/>
            <a:ext cx="3175762" cy="317576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51" name="Shape 1251"/>
          <p:cNvSpPr>
            <a:spLocks noGrp="1"/>
          </p:cNvSpPr>
          <p:nvPr>
            <p:ph type="pic" sz="quarter" idx="14"/>
          </p:nvPr>
        </p:nvSpPr>
        <p:spPr>
          <a:xfrm>
            <a:off x="4251168" y="2250016"/>
            <a:ext cx="1971246" cy="317576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52" name="Shape 1252"/>
          <p:cNvSpPr>
            <a:spLocks noGrp="1"/>
          </p:cNvSpPr>
          <p:nvPr>
            <p:ph type="pic" sz="quarter" idx="15"/>
          </p:nvPr>
        </p:nvSpPr>
        <p:spPr>
          <a:xfrm>
            <a:off x="6406703" y="2250016"/>
            <a:ext cx="4830565" cy="317576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87508446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4839367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" name="Shape 1259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60" name="Shape 1260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61" name="Shape 1261"/>
          <p:cNvSpPr>
            <a:spLocks noGrp="1"/>
          </p:cNvSpPr>
          <p:nvPr>
            <p:ph type="pic" sz="half" idx="13"/>
          </p:nvPr>
        </p:nvSpPr>
        <p:spPr>
          <a:xfrm>
            <a:off x="6852226" y="893223"/>
            <a:ext cx="4241555" cy="507155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62" name="Shape 1262"/>
          <p:cNvSpPr/>
          <p:nvPr/>
        </p:nvSpPr>
        <p:spPr>
          <a:xfrm flipH="1">
            <a:off x="460375" y="-15550"/>
            <a:ext cx="1" cy="2137439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63" name="Shape 1263"/>
          <p:cNvSpPr/>
          <p:nvPr/>
        </p:nvSpPr>
        <p:spPr>
          <a:xfrm flipH="1">
            <a:off x="646641" y="-15550"/>
            <a:ext cx="1" cy="730896"/>
          </a:xfrm>
          <a:prstGeom prst="line">
            <a:avLst/>
          </a:prstGeom>
          <a:ln w="3175">
            <a:solidFill>
              <a:srgbClr val="A6AAA9"/>
            </a:solidFill>
            <a:miter lim="400000"/>
            <a:tailEnd type="oval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84071939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Shape 1270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71" name="Shape 1271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72" name="Shape 1272"/>
          <p:cNvSpPr>
            <a:spLocks noGrp="1"/>
          </p:cNvSpPr>
          <p:nvPr>
            <p:ph type="pic" sz="quarter" idx="13"/>
          </p:nvPr>
        </p:nvSpPr>
        <p:spPr>
          <a:xfrm>
            <a:off x="3143977" y="1204493"/>
            <a:ext cx="3973690" cy="299153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8434874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9" name="Shape 1279"/>
          <p:cNvSpPr>
            <a:spLocks noGrp="1"/>
          </p:cNvSpPr>
          <p:nvPr>
            <p:ph type="pic" sz="quarter" idx="13"/>
          </p:nvPr>
        </p:nvSpPr>
        <p:spPr>
          <a:xfrm>
            <a:off x="4257687" y="2561691"/>
            <a:ext cx="2912344" cy="291234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80" name="Shape 1280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81" name="Shape 1281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82" name="Shape 1282"/>
          <p:cNvSpPr/>
          <p:nvPr/>
        </p:nvSpPr>
        <p:spPr>
          <a:xfrm>
            <a:off x="1634988" y="1384039"/>
            <a:ext cx="3715495" cy="37154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solidFill>
            <a:srgbClr val="DCDEE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83" name="Shape 1283"/>
          <p:cNvSpPr>
            <a:spLocks noGrp="1"/>
          </p:cNvSpPr>
          <p:nvPr>
            <p:ph type="pic" sz="quarter" idx="14"/>
          </p:nvPr>
        </p:nvSpPr>
        <p:spPr>
          <a:xfrm>
            <a:off x="1634988" y="1384039"/>
            <a:ext cx="3715495" cy="371549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71658479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1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" name="Shape 1290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291" name="Shape 1291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92" name="Shape 1292"/>
          <p:cNvSpPr>
            <a:spLocks noGrp="1"/>
          </p:cNvSpPr>
          <p:nvPr>
            <p:ph type="pic" sz="quarter" idx="13"/>
          </p:nvPr>
        </p:nvSpPr>
        <p:spPr>
          <a:xfrm>
            <a:off x="1030063" y="1637283"/>
            <a:ext cx="3583435" cy="358343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57938686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4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9" name="Shape 1299"/>
          <p:cNvSpPr/>
          <p:nvPr/>
        </p:nvSpPr>
        <p:spPr>
          <a:xfrm>
            <a:off x="11566721" y="6231663"/>
            <a:ext cx="241301" cy="241301"/>
          </a:xfrm>
          <a:prstGeom prst="ellipse">
            <a:avLst/>
          </a:prstGeom>
          <a:solidFill>
            <a:srgbClr val="000000"/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>
              <a:defRPr sz="1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/>
          </a:p>
        </p:txBody>
      </p:sp>
      <p:sp>
        <p:nvSpPr>
          <p:cNvPr id="1300" name="Shape 1300"/>
          <p:cNvSpPr>
            <a:spLocks noGrp="1"/>
          </p:cNvSpPr>
          <p:nvPr>
            <p:ph type="sldNum" sz="quarter" idx="2"/>
          </p:nvPr>
        </p:nvSpPr>
        <p:spPr>
          <a:xfrm>
            <a:off x="11589327" y="6250713"/>
            <a:ext cx="196089" cy="190501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900"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301" name="Shape 1301"/>
          <p:cNvSpPr>
            <a:spLocks noGrp="1"/>
          </p:cNvSpPr>
          <p:nvPr>
            <p:ph type="pic" sz="quarter" idx="13"/>
          </p:nvPr>
        </p:nvSpPr>
        <p:spPr>
          <a:xfrm>
            <a:off x="8113109" y="682350"/>
            <a:ext cx="1421726" cy="14217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02" name="Shape 1302"/>
          <p:cNvSpPr>
            <a:spLocks noGrp="1"/>
          </p:cNvSpPr>
          <p:nvPr>
            <p:ph type="pic" sz="quarter" idx="14"/>
          </p:nvPr>
        </p:nvSpPr>
        <p:spPr>
          <a:xfrm>
            <a:off x="4565253" y="1898253"/>
            <a:ext cx="3061481" cy="306148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03" name="Shape 1303"/>
          <p:cNvSpPr>
            <a:spLocks noGrp="1"/>
          </p:cNvSpPr>
          <p:nvPr>
            <p:ph type="pic" sz="quarter" idx="15"/>
          </p:nvPr>
        </p:nvSpPr>
        <p:spPr>
          <a:xfrm>
            <a:off x="8610592" y="4786732"/>
            <a:ext cx="985446" cy="98544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04" name="Shape 1304"/>
          <p:cNvSpPr>
            <a:spLocks noGrp="1"/>
          </p:cNvSpPr>
          <p:nvPr>
            <p:ph type="pic" sz="quarter" idx="16"/>
          </p:nvPr>
        </p:nvSpPr>
        <p:spPr>
          <a:xfrm>
            <a:off x="1532466" y="3318933"/>
            <a:ext cx="1713360" cy="171336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05" name="Shape 1305"/>
          <p:cNvSpPr>
            <a:spLocks noGrp="1"/>
          </p:cNvSpPr>
          <p:nvPr>
            <p:ph type="pic" sz="quarter" idx="17"/>
          </p:nvPr>
        </p:nvSpPr>
        <p:spPr>
          <a:xfrm>
            <a:off x="5728890" y="5702554"/>
            <a:ext cx="734257" cy="73425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1888759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2" name="Shape 1312"/>
          <p:cNvSpPr>
            <a:spLocks noGrp="1"/>
          </p:cNvSpPr>
          <p:nvPr>
            <p:ph type="title"/>
          </p:nvPr>
        </p:nvSpPr>
        <p:spPr>
          <a:xfrm>
            <a:off x="2193726" y="312539"/>
            <a:ext cx="7804548" cy="1518047"/>
          </a:xfrm>
          <a:prstGeom prst="rect">
            <a:avLst/>
          </a:prstGeom>
        </p:spPr>
        <p:txBody>
          <a:bodyPr lIns="35718" tIns="35718" rIns="35718" bIns="35718"/>
          <a:lstStyle>
            <a:lvl1pPr algn="ctr" defTabSz="410765">
              <a:lnSpc>
                <a:spcPct val="100000"/>
              </a:lnSpc>
              <a:defRPr sz="56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13" name="Shape 1313"/>
          <p:cNvSpPr>
            <a:spLocks noGrp="1"/>
          </p:cNvSpPr>
          <p:nvPr>
            <p:ph type="body" idx="1"/>
          </p:nvPr>
        </p:nvSpPr>
        <p:spPr>
          <a:xfrm>
            <a:off x="2193726" y="1830585"/>
            <a:ext cx="7804548" cy="4420197"/>
          </a:xfrm>
          <a:prstGeom prst="rect">
            <a:avLst/>
          </a:prstGeom>
        </p:spPr>
        <p:txBody>
          <a:bodyPr lIns="35718" tIns="35718" rIns="35718" bIns="35718" anchor="ctr"/>
          <a:lstStyle>
            <a:lvl1pPr marL="296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08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85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298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74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14" name="Shape 1314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9580451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Shape 1321"/>
          <p:cNvSpPr>
            <a:spLocks noGrp="1"/>
          </p:cNvSpPr>
          <p:nvPr>
            <p:ph type="body" idx="1"/>
          </p:nvPr>
        </p:nvSpPr>
        <p:spPr>
          <a:xfrm>
            <a:off x="2193726" y="892968"/>
            <a:ext cx="7804548" cy="5072064"/>
          </a:xfrm>
          <a:prstGeom prst="rect">
            <a:avLst/>
          </a:prstGeom>
        </p:spPr>
        <p:txBody>
          <a:bodyPr lIns="35718" tIns="35718" rIns="35718" bIns="35718" anchor="ctr"/>
          <a:lstStyle>
            <a:lvl1pPr marL="296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08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85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298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74333" indent="-296333" defTabSz="410765">
              <a:lnSpc>
                <a:spcPct val="100000"/>
              </a:lnSpc>
              <a:spcBef>
                <a:spcPts val="2900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22" name="Shape 1322"/>
          <p:cNvSpPr>
            <a:spLocks noGrp="1"/>
          </p:cNvSpPr>
          <p:nvPr>
            <p:ph type="sldNum" sz="quarter" idx="2"/>
          </p:nvPr>
        </p:nvSpPr>
        <p:spPr>
          <a:xfrm>
            <a:off x="5964732" y="6505277"/>
            <a:ext cx="253607" cy="249238"/>
          </a:xfrm>
          <a:prstGeom prst="rect">
            <a:avLst/>
          </a:prstGeom>
        </p:spPr>
        <p:txBody>
          <a:bodyPr lIns="35718" tIns="35718" rIns="35718" bIns="35718" anchor="t"/>
          <a:lstStyle>
            <a:lvl1pPr defTabSz="410765">
              <a:defRPr sz="12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32956750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Заголовок и подзаголовок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9" name="Shape 1329"/>
          <p:cNvSpPr>
            <a:spLocks noGrp="1"/>
          </p:cNvSpPr>
          <p:nvPr>
            <p:ph type="title"/>
          </p:nvPr>
        </p:nvSpPr>
        <p:spPr>
          <a:xfrm>
            <a:off x="889000" y="1149350"/>
            <a:ext cx="10414000" cy="2324100"/>
          </a:xfrm>
          <a:prstGeom prst="rect">
            <a:avLst/>
          </a:prstGeom>
        </p:spPr>
        <p:txBody>
          <a:bodyPr lIns="25400" tIns="25400" rIns="25400" bIns="25400" anchor="b"/>
          <a:lstStyle>
            <a:lvl1pPr algn="ctr" defTabSz="412750">
              <a:lnSpc>
                <a:spcPct val="100000"/>
              </a:lnSpc>
              <a:defRPr sz="56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30" name="Shape 1330"/>
          <p:cNvSpPr>
            <a:spLocks noGrp="1"/>
          </p:cNvSpPr>
          <p:nvPr>
            <p:ph type="body" sz="quarter" idx="1"/>
          </p:nvPr>
        </p:nvSpPr>
        <p:spPr>
          <a:xfrm>
            <a:off x="889000" y="3536950"/>
            <a:ext cx="10414000" cy="793750"/>
          </a:xfrm>
          <a:prstGeom prst="rect">
            <a:avLst/>
          </a:prstGeom>
        </p:spPr>
        <p:txBody>
          <a:bodyPr lIns="25400" tIns="25400" rIns="25400" bIns="25400"/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2286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4572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6858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914400" algn="ctr" defTabSz="412750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22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31" name="Shape 1331"/>
          <p:cNvSpPr>
            <a:spLocks noGrp="1"/>
          </p:cNvSpPr>
          <p:nvPr>
            <p:ph type="sldNum" sz="quarter" idx="2"/>
          </p:nvPr>
        </p:nvSpPr>
        <p:spPr>
          <a:xfrm>
            <a:off x="5976340" y="6540500"/>
            <a:ext cx="232970" cy="228600"/>
          </a:xfrm>
          <a:prstGeom prst="rect">
            <a:avLst/>
          </a:prstGeom>
        </p:spPr>
        <p:txBody>
          <a:bodyPr lIns="25400" tIns="25400" rIns="25400" bIns="25400" anchor="t"/>
          <a:lstStyle>
            <a:lvl1pPr defTabSz="412750">
              <a:defRPr sz="120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59922203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3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3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" y="380"/>
            <a:ext cx="12188764" cy="6857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996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ue">
    <p:bg>
      <p:bgPr>
        <a:gradFill>
          <a:gsLst>
            <a:gs pos="1800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" y="380"/>
            <a:ext cx="12188764" cy="6857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525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8532476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50"/>
            <a:ext cx="12189291" cy="685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750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1800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50"/>
            <a:ext cx="12189291" cy="685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607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9"/>
            <a:ext cx="12189291" cy="685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028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21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100000">
              <a:srgbClr val="A4B507"/>
            </a:gs>
            <a:gs pos="18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9"/>
            <a:ext cx="12189291" cy="685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407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49"/>
            <a:ext cx="12189289" cy="685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944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ink">
    <p:bg>
      <p:bgPr>
        <a:gradFill>
          <a:gsLst>
            <a:gs pos="100000">
              <a:srgbClr val="E59AAA"/>
            </a:gs>
            <a:gs pos="18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49"/>
            <a:ext cx="12189289" cy="685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527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48"/>
            <a:ext cx="12189289" cy="685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142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urple">
    <p:bg>
      <p:bgPr>
        <a:gradFill>
          <a:gsLst>
            <a:gs pos="100000">
              <a:srgbClr val="A873A9"/>
            </a:gs>
            <a:gs pos="18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48"/>
            <a:ext cx="12189289" cy="6853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678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orange">
    <p:bg>
      <p:bgPr>
        <a:gradFill>
          <a:gsLst>
            <a:gs pos="0">
              <a:srgbClr val="983222"/>
            </a:gs>
            <a:gs pos="100000">
              <a:srgbClr val="E983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50"/>
            <a:ext cx="12189288" cy="685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151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tle slide - orange">
    <p:bg>
      <p:bgPr>
        <a:gradFill>
          <a:gsLst>
            <a:gs pos="15000">
              <a:srgbClr val="E98300"/>
            </a:gs>
            <a:gs pos="100000">
              <a:srgbClr val="EEAF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4000" y="4608001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4000" y="488435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1104000" y="5148000"/>
            <a:ext cx="5760000" cy="252000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Presentation title 4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50"/>
            <a:ext cx="12189288" cy="685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521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itle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6830834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6267882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Standard 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1267DD-31FE-499F-97DE-24FA21ED9369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0029385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Standar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DC105E-39E1-4869-BC2C-4432D48DC8C5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26516165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Standard tex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B6F18EB-6476-450E-A185-ADD517C6B2E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2757427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Standard tex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A4C7358-19B6-424A-A534-9FEA5F817564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3545953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Standard tex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163E7E-1954-44EB-B02C-0E5E30DF80C7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1081447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Standard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97E9A9-1E1C-4B5E-8AF4-C1C99BF628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97E9A9-1E1C-4B5E-8AF4-C1C99BF628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061105F-C847-40F9-BFC8-77D41F9529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84C236-880D-410B-8E54-B173207AFE1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BE0DDD1-E8FF-476A-B624-711BB78C533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36BD1A-AF4B-4287-A902-BC02DA08201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DBA78F2-A9DE-4AB8-A4E1-761EACDB9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403" y="1548001"/>
            <a:ext cx="10753195" cy="4617303"/>
          </a:xfrm>
        </p:spPr>
        <p:txBody>
          <a:bodyPr>
            <a:no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B5F9301F-221F-44B2-8F12-C2FBAAF44E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B62CECC-FE09-4BDF-A141-08EB54B974A1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6903605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082554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FB9E3C1-5657-4AFC-873B-FDCEF5C82656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0400134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868189D-7746-4F44-903A-FDC1C2B9C835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0654459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7938699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itle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F6ED2C-CED9-44DC-B8F3-6AE54BF84424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10867642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Orange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B40C016-BB7E-47EA-AF73-FA56031E802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1203546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73FB470-03AF-4AA7-91C7-E20A765B7663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09227516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8C5A75-BEA1-4484-8777-39F1C8E2ED3C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61425036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44D451F-2D62-4021-A116-B785B44CA1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8460695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5BC2D7-8F23-49D2-9F6C-F76B3B5782A1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1834426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AB8119-6D43-4E01-985B-9214D428F1CA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398766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95FDE29-312E-48CE-A7C3-ABFF824F0D57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2586904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wo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93B353A-3DDF-429C-A910-029B8ACADCF8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9071615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rk Pink_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1A621E8-0588-454F-8613-D560F4118FC6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9A025E9-1148-41CA-9BC0-36FC1A64F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846739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9668026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667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98685" y="1548000"/>
            <a:ext cx="5075767" cy="462756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536E17F-D304-47C2-AD77-7C18C714EBD4}"/>
              </a:ext>
            </a:extLst>
          </p:cNvPr>
          <p:cNvPicPr>
            <a:picLocks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2256D86-CD30-4194-8581-216F8EA626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6132115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F4024-250B-4DF0-88FD-894C7422F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F4024-250B-4DF0-88FD-894C7422F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240ED2-4EC0-4518-89F1-BBB2F52D74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4656667" cy="685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B71538-B430-4B25-AB35-31746FF0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8000" y="449999"/>
            <a:ext cx="4798133" cy="10347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2523A-C070-4FDB-86F7-7875D41CCDA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10264BD-5203-49E4-BC0F-3E4178D54B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744C28-1BF7-4E7F-A965-D914E61E58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A17CC56-2B12-4A59-950F-3DCB9600CE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27917" y="1548001"/>
            <a:ext cx="6144684" cy="461730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8670442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493118-70BE-49DA-9C6C-347B4D8A8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493118-70BE-49DA-9C6C-347B4D8A8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B156F3-CF8C-4CDD-A03E-A24D93085D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535335" y="0"/>
            <a:ext cx="4656667" cy="685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23F61C-4E8C-4FD1-B6ED-B2BBE09DE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449999"/>
            <a:ext cx="6144597" cy="103478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5EEC5-0A06-4B5F-809B-FA1044DD41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1F658F-CD8F-4E6E-BDBA-CBEEDB56840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D84B06-2D47-45F2-9684-460ADDAA2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E067B-840F-47D3-B48B-45596F55FF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001" y="1548001"/>
            <a:ext cx="6144684" cy="461730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A2ED915-94F6-46CD-826E-92A745D55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37332" y="371475"/>
            <a:ext cx="645584" cy="617538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554613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6B7A6-8E09-43BE-AD8E-4D7F6C40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6B7A6-8E09-43BE-AD8E-4D7F6C40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0C839-211D-4D2C-84AA-B3FFFB3A69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548001"/>
            <a:ext cx="7564967" cy="461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1FA11C-355A-42A0-8ACC-631313FC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361182E-6B7A-4849-BC57-86A86014FF8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52FD04A-862C-4934-BC73-93BBD939EF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B82D07-B33E-49CB-AC52-C657932240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20880-CEF8-4B01-8B09-8EC1A7E2F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80351" y="1548001"/>
            <a:ext cx="3592245" cy="461730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8515766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5A649B-0ABD-4FBE-AADC-2F9E3E8A3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5A649B-0ABD-4FBE-AADC-2F9E3E8A3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3FBBEC-A26A-4352-A29A-C24F6799AD0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82067" y="1548001"/>
            <a:ext cx="7509933" cy="461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50E1E-97E8-4411-B532-AD7CE1F3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A891F-E92C-403A-BFCC-535E846FAA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2573C8-E590-4CEE-84C0-E3B118D75FA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A0AFB-ED51-4458-A2A2-DDC32D4086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241E64-67CD-4CA0-81D4-1083916DD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000" y="1548001"/>
            <a:ext cx="3642784" cy="461730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7934676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E58438-2C13-4271-81DF-CB7F29D6EB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E58438-2C13-4271-81DF-CB7F29D6E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A03740-B160-49DB-948D-C475AD78D1B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9667" y="1548000"/>
            <a:ext cx="5088467" cy="320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384032" y="1548000"/>
            <a:ext cx="5088467" cy="3204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AB248D-57C3-42BE-B1A8-E7FC1A38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1C86-B158-41D0-A938-63F01F3357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6D6C4-8F10-4092-B714-9020C41BB8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D015-4119-4EA1-B431-858F91EA5F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DAA8A-021C-4EC1-B26E-48889996AA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401" y="5003999"/>
            <a:ext cx="5089496" cy="11613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F5822-A908-4933-8FD3-A83B190BF6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83999" y="5003999"/>
            <a:ext cx="5088597" cy="11613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947389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063C06-AE5B-4F6F-9C37-FBE1184F3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063C06-AE5B-4F6F-9C37-FBE1184F3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D051A0-039D-42D9-A58B-EA14A08412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19667" y="1548000"/>
            <a:ext cx="10752667" cy="460851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0F8291-C16C-4418-9B6D-28D21CA7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BB389B-3B07-4E50-B6D9-4F152C7670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D7D42-1612-4F34-9E0C-4BB0F061DD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40F500-5589-4B84-923C-8EFC4E3CAE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3517126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5797D4-FD91-4A72-BFB7-8798A1097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80F89-4AE5-4088-80FE-245322572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167E6-9B12-4AF6-B568-50379A338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4248795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ACB5B-4858-4068-9665-FC3C21C106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photo (16:9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F548E2F-0354-46E1-A24B-261AE84898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837332" y="371475"/>
            <a:ext cx="645584" cy="617538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2198956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462C7498-3AB5-4406-913C-71CCEC8866D0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video (16:9)</a:t>
            </a:r>
          </a:p>
        </p:txBody>
      </p:sp>
    </p:spTree>
    <p:extLst>
      <p:ext uri="{BB962C8B-B14F-4D97-AF65-F5344CB8AC3E}">
        <p14:creationId xmlns:p14="http://schemas.microsoft.com/office/powerpoint/2010/main" val="38017922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itle Onl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961335A-8C71-4906-B035-4841327EAB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961335A-8C71-4906-B035-4841327EAB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7BB393-155A-4310-8B8C-54BB9A9AEEA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F479DA-8DD6-4320-946F-6447CE9AAB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C6C201-4266-412C-8AC9-E9BCA52E50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847EA0-0639-4962-AADA-DCC10C6CE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4ACDF8-C435-48D3-BF23-1B763DEDD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71E562-413B-4F0D-A2C0-64A59DCF28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7393893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1354022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  <a:p>
            <a:pPr lvl="0"/>
            <a:endParaRPr lang="en-US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DD0704-5792-4851-9A42-DE32877B9B6B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72231523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blue">
    <p:bg>
      <p:bgPr>
        <a:gradFill>
          <a:gsLst>
            <a:gs pos="18000">
              <a:srgbClr val="0089C4"/>
            </a:gs>
            <a:gs pos="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9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266053-ECA0-4F4E-AE94-F984B6336A98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0106252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3C6152-9EC5-4DCD-AC5F-2E9657F81143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35388117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aqua">
    <p:bg>
      <p:bgPr>
        <a:gradFill>
          <a:gsLst>
            <a:gs pos="18000">
              <a:srgbClr val="1E9D8B"/>
            </a:gs>
            <a:gs pos="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71798E-06CB-4807-9A7D-A2F14CF15926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4380650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E60421-BC55-4FF9-86F9-F47508B0A365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928155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green">
    <p:bg>
      <p:bgPr>
        <a:gradFill>
          <a:gsLst>
            <a:gs pos="18000">
              <a:srgbClr val="5B8F22"/>
            </a:gs>
            <a:gs pos="0">
              <a:srgbClr val="5B8F22"/>
            </a:gs>
            <a:gs pos="100000">
              <a:srgbClr val="A4B507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55D5242-DC70-4378-8AE8-6B9E10B4C69E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97239601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D72BF7-728A-482E-A53F-F46DE0A54124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602870744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ink">
    <p:bg>
      <p:bgPr>
        <a:gradFill>
          <a:gsLst>
            <a:gs pos="18000">
              <a:srgbClr val="EC4371"/>
            </a:gs>
            <a:gs pos="0">
              <a:srgbClr val="EC4371"/>
            </a:gs>
            <a:gs pos="100000">
              <a:srgbClr val="E59AAA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E0C2738-12CB-4E23-9D65-C52A777069A3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4338174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495849-C711-4C59-BE40-B0978E1415A5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495667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0719100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urple">
    <p:bg>
      <p:bgPr>
        <a:gradFill>
          <a:gsLst>
            <a:gs pos="18000">
              <a:srgbClr val="7D0063"/>
            </a:gs>
            <a:gs pos="0">
              <a:srgbClr val="7D0063"/>
            </a:gs>
            <a:gs pos="100000">
              <a:srgbClr val="A873A9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E4CFE7-971D-482B-BBDE-3905D9258762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63473497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orange">
    <p:bg>
      <p:bgPr>
        <a:gradFill>
          <a:gsLst>
            <a:gs pos="0">
              <a:srgbClr val="983222"/>
            </a:gs>
            <a:gs pos="100000">
              <a:srgbClr val="E983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A4D192-C684-4BD8-BEB3-18ADCBFC1803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60231716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orange">
    <p:bg>
      <p:bgPr>
        <a:gradFill>
          <a:gsLst>
            <a:gs pos="18000">
              <a:srgbClr val="E98300"/>
            </a:gs>
            <a:gs pos="0">
              <a:srgbClr val="E98300"/>
            </a:gs>
            <a:gs pos="100000">
              <a:srgbClr val="EEAF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1"/>
            <a:ext cx="9984000" cy="162000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0F3EE0-717B-40CD-9D05-E617D1E02F83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333" y="371475"/>
            <a:ext cx="645584" cy="61753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9423771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58990-F6FE-47C5-BC21-2A4526350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58990-F6FE-47C5-BC21-2A4526350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" y="0"/>
            <a:ext cx="4656667" cy="6858000"/>
          </a:xfrm>
          <a:prstGeom prst="rect">
            <a:avLst/>
          </a:prstGeom>
          <a:solidFill>
            <a:srgbClr val="004D79">
              <a:alpha val="89804"/>
            </a:srgb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23335" y="1625597"/>
            <a:ext cx="3801535" cy="425061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B25F741-4DE1-41E1-8A68-93B346DCA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37332" y="371475"/>
            <a:ext cx="645584" cy="617538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775807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622BA5-BC34-4A58-9264-E2D05A0F2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622BA5-BC34-4A58-9264-E2D05A0F2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535336" y="0"/>
            <a:ext cx="4656667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52004" y="1625601"/>
            <a:ext cx="3820897" cy="4251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DD6326-33BA-4174-807D-738A31A700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37332" y="371475"/>
            <a:ext cx="645584" cy="617538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622252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A24CE-89CA-4008-85D4-D98FA9672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A24CE-89CA-4008-85D4-D98FA9672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5245105"/>
            <a:ext cx="12192000" cy="16129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3101" y="5624423"/>
            <a:ext cx="10847919" cy="86994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5C95AE-299F-431B-AB66-08FC9F22E3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37332" y="371475"/>
            <a:ext cx="645584" cy="617538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6469696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BAA68A-08EA-496D-B665-88DDACBC0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BAA68A-08EA-496D-B665-88DDACBC0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3100" y="323940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EFB6CD9-7626-429B-A638-CA2C3907F2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37332" y="371475"/>
            <a:ext cx="645584" cy="617538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57520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486757-F9A3-4F23-8717-59ECFD7A8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486757-F9A3-4F23-8717-59ECFD7A8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41017" y="1369695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6A7725E-E42D-449C-A552-89E34F170F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37332" y="371475"/>
            <a:ext cx="645584" cy="617538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7817260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3373125" y="52209"/>
            <a:ext cx="6753009" cy="591752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4" y="471161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5944" y="52207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5944" y="261684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62C03-275A-4B1F-B234-561444D869D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E35EF-ADB2-4164-B32F-9BDCE33D215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5F407-F7B2-457F-BADC-5D7E348202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5943" y="1264358"/>
            <a:ext cx="1194011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587171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25944" y="471161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25944" y="680640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125944" y="52207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5944" y="261684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3373124" y="111600"/>
            <a:ext cx="6753011" cy="507600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3" y="1264359"/>
            <a:ext cx="1194011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652038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524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8529858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3373124" y="111600"/>
            <a:ext cx="6753011" cy="507600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4" y="471161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4" y="680640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4" y="52207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4" y="261684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267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245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3373124" y="111600"/>
            <a:ext cx="6753011" cy="507600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00678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245">
          <p15:clr>
            <a:srgbClr val="FBAE4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3373124" y="111600"/>
            <a:ext cx="6753011" cy="507600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4" y="471161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4" y="680640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4" y="52207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4" y="261684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73815" y="1264359"/>
            <a:ext cx="3592245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13253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245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endParaRPr lang="en-US" sz="16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/>
          </p:nvPr>
        </p:nvSpPr>
        <p:spPr>
          <a:xfrm>
            <a:off x="3373124" y="111600"/>
            <a:ext cx="6753011" cy="507600"/>
          </a:xfrm>
        </p:spPr>
        <p:txBody>
          <a:bodyPr/>
          <a:lstStyle>
            <a:lvl1pPr algn="l">
              <a:lnSpc>
                <a:spcPts val="1600"/>
              </a:lnSpc>
              <a:defRPr sz="1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4" y="471161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4" y="680640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4" y="52207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4" y="261684"/>
            <a:ext cx="3133257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8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2" y="4704081"/>
            <a:ext cx="5089497" cy="15951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538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5245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075931" y="2447784"/>
            <a:ext cx="2040139" cy="19476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646994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43339" y="6237312"/>
            <a:ext cx="1190532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631" tIns="40815" rIns="81631" bIns="40815"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5203" y="2453328"/>
            <a:ext cx="2041595" cy="1947672"/>
          </a:xfrm>
          <a:prstGeom prst="rect">
            <a:avLst/>
          </a:prstGeom>
          <a:ln>
            <a:noFill/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C8278D9-52F4-4C20-A786-757D9406E356}"/>
              </a:ext>
            </a:extLst>
          </p:cNvPr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600" y="2457000"/>
            <a:ext cx="2035200" cy="194400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541146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qua Two Conten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904818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82075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946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Conte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494075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Two Conten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92826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nk Two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61077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urple Two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A04ADFE-9A66-4402-ADB9-F737C99AC8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A04ADFE-9A66-4402-ADB9-F737C99AC8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C9F324-D96D-43C9-9F1D-74F1A749ED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6FF390-C074-41B4-BFDD-16F0AF26B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262478C-A2B9-4776-BE79-6136821C6D1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446DDBD-3CF8-4852-AFCD-6916157B83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99191BF6-7645-4AA5-BBDA-A5098F6872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35C9F09-7021-4051-A9D1-030CD6FC330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73100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809A377-7525-43E7-B08A-D3AD27D17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432551" y="1623484"/>
            <a:ext cx="5088467" cy="46143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E4AB85C-6D68-43DC-9254-2702C4AC327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0825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BF4024-250B-4DF0-88FD-894C7422F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BF4024-250B-4DF0-88FD-894C7422F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D240ED2-4EC0-4518-89F1-BBB2F52D74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4656667" cy="685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B71538-B430-4B25-AB35-31746FF03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27915" y="507999"/>
            <a:ext cx="5376069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42523A-C070-4FDB-86F7-7875D41CCDA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10264BD-5203-49E4-BC0F-3E4178D54B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E744C28-1BF7-4E7F-A965-D914E61E58F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A17CC56-2B12-4A59-950F-3DCB9600CED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27915" y="1623483"/>
            <a:ext cx="6193104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424484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tic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493118-70BE-49DA-9C6C-347B4D8A8B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493118-70BE-49DA-9C6C-347B4D8A8B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1B156F3-CF8C-4CDD-A03E-A24D93085D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535333" y="0"/>
            <a:ext cx="4656667" cy="68519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923F61C-4E8C-4FD1-B6ED-B2BBE09DEC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6047433" cy="93133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615EEC5-0A06-4B5F-809B-FA1044DD41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31F658F-CD8F-4E6E-BDBA-CBEEDB56840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9D84B06-2D47-45F2-9684-460ADDAA2DA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A4E067B-840F-47D3-B48B-45596F55FF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3100" y="1623484"/>
            <a:ext cx="6047435" cy="461433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A2ED915-94F6-46CD-826E-92A745D55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6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60232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96B7A6-8E09-43BE-AD8E-4D7F6C40B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96B7A6-8E09-43BE-AD8E-4D7F6C40B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80C839-211D-4D2C-84AA-B3FFFB3A69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" y="1623483"/>
            <a:ext cx="7542507" cy="46143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41FA11C-355A-42A0-8ACC-631313FC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361182E-6B7A-4849-BC57-86A86014FF8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52FD04A-862C-4934-BC73-93BBD939EF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BB82D07-B33E-49CB-AC52-C6579322403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4820880-CEF8-4B01-8B09-8EC1A7E2F09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29529" y="1623483"/>
            <a:ext cx="3691488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937120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im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670157" y="1623484"/>
            <a:ext cx="7521844" cy="46143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250E1E-97E8-4411-B532-AD7CE1F30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AA891F-E92C-403A-BFCC-535E846FAAD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82573C8-E590-4CEE-84C0-E3B118D75FA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D0A0AFB-ED51-4458-A2A2-DDC32D4086E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D241E64-67CD-4CA0-81D4-1083916DD1B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73100" y="1623483"/>
            <a:ext cx="3676757" cy="461433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546473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73100" y="1623485"/>
            <a:ext cx="5088467" cy="31285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432551" y="1623485"/>
            <a:ext cx="5088467" cy="312851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AB248D-57C3-42BE-B1A8-E7FC1A387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7D1C86-B158-41D0-A938-63F01F33576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026D6C4-8F10-4092-B714-9020C41BB82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ADD015-4119-4EA1-B431-858F91EA5FD3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BDAA8A-021C-4EC1-B26E-48889996AA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3100" y="5004003"/>
            <a:ext cx="5088467" cy="12338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98F5822-A908-4933-8FD3-A83B190BF6E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32551" y="5004003"/>
            <a:ext cx="5088467" cy="123381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321219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F063C06-AE5B-4F6F-9C37-FBE1184F3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F063C06-AE5B-4F6F-9C37-FBE1184F3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DD051A0-039D-42D9-A58B-EA14A08412F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73101" y="1623484"/>
            <a:ext cx="10847919" cy="46143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0F8291-C16C-4418-9B6D-28D21CA7A5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8BB389B-3B07-4E50-B6D9-4F152C7670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6D7D42-1612-4F34-9E0C-4BB0F061DDF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40F500-5589-4B84-923C-8EFC4E3CAED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7291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qua">
    <p:bg>
      <p:bgPr>
        <a:gradFill>
          <a:gsLst>
            <a:gs pos="1800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90"/>
            <a:ext cx="12182075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8874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65797D4-FD91-4A72-BFB7-8798A1097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B80F89-4AE5-4088-80FE-245322572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8167E6-9B12-4AF6-B568-50379A338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9958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97ACB5B-4858-4068-9665-FC3C21C1065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photo (16:9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1F548E2F-0354-46E1-A24B-261AE84898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4668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89AD4B-CD2A-4E02-85A1-532A4A251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89AD4B-CD2A-4E02-85A1-532A4A251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462C7498-3AB5-4406-913C-71CCEC8866D0}"/>
              </a:ext>
            </a:extLst>
          </p:cNvPr>
          <p:cNvSpPr>
            <a:spLocks noGrp="1"/>
          </p:cNvSpPr>
          <p:nvPr>
            <p:ph type="media" sz="quarter" idx="2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insert video (16:9)</a:t>
            </a:r>
          </a:p>
        </p:txBody>
      </p:sp>
    </p:spTree>
    <p:extLst>
      <p:ext uri="{BB962C8B-B14F-4D97-AF65-F5344CB8AC3E}">
        <p14:creationId xmlns:p14="http://schemas.microsoft.com/office/powerpoint/2010/main" val="69357683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tx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8363265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80518A-9ACF-8844-AFD1-AB184AC65B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30168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blue">
    <p:bg>
      <p:bgPr>
        <a:gradFill>
          <a:gsLst>
            <a:gs pos="18000">
              <a:srgbClr val="0089C4"/>
            </a:gs>
            <a:gs pos="0">
              <a:srgbClr val="0089C4"/>
            </a:gs>
            <a:gs pos="100000">
              <a:srgbClr val="629FD5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4770E6-DFFC-4965-BCFF-C2F025ADA5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614146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aqua">
    <p:bg>
      <p:bgPr>
        <a:gradFill>
          <a:gsLst>
            <a:gs pos="0">
              <a:srgbClr val="156570"/>
            </a:gs>
            <a:gs pos="100000">
              <a:srgbClr val="1E9D8B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63CA9F-55F7-443D-BDB2-CC212DC826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01156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aqua">
    <p:bg>
      <p:bgPr>
        <a:gradFill>
          <a:gsLst>
            <a:gs pos="18000">
              <a:srgbClr val="1E9D8B"/>
            </a:gs>
            <a:gs pos="0">
              <a:srgbClr val="1E9D8B"/>
            </a:gs>
            <a:gs pos="100000">
              <a:srgbClr val="4FB5AE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58E946-AE1B-43D2-AC7C-8CB943F677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533171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01F90D0-6CD9-4C1B-A4C2-46CE98B2AB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1670359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green">
    <p:bg>
      <p:bgPr>
        <a:gradFill>
          <a:gsLst>
            <a:gs pos="18000">
              <a:srgbClr val="5B8F22"/>
            </a:gs>
            <a:gs pos="0">
              <a:srgbClr val="5B8F22"/>
            </a:gs>
            <a:gs pos="100000">
              <a:srgbClr val="A4B507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7AA786-DB75-447B-8332-AC6C6640A5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88378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 dark green">
    <p:bg>
      <p:bgPr>
        <a:gradFill>
          <a:gsLst>
            <a:gs pos="0">
              <a:srgbClr val="00693C"/>
            </a:gs>
            <a:gs pos="100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91"/>
            <a:ext cx="12182073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0566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DAE9EB-A548-4354-803D-A97A84FD56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655771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ink">
    <p:bg>
      <p:bgPr>
        <a:gradFill>
          <a:gsLst>
            <a:gs pos="18000">
              <a:srgbClr val="EC4371"/>
            </a:gs>
            <a:gs pos="0">
              <a:srgbClr val="EC4371"/>
            </a:gs>
            <a:gs pos="100000">
              <a:srgbClr val="E59AAA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F8FE969-BFB6-40FA-BDFB-A70E2DA113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108984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84935F9-513A-4F2C-A7C3-7F6333C538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14383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purple">
    <p:bg>
      <p:bgPr>
        <a:gradFill>
          <a:gsLst>
            <a:gs pos="18000">
              <a:srgbClr val="7D0063"/>
            </a:gs>
            <a:gs pos="0">
              <a:srgbClr val="7D0063"/>
            </a:gs>
            <a:gs pos="100000">
              <a:srgbClr val="A873A9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+mj-lt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8B6D403-B8D3-4876-B7EF-4C11A84F19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675460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dark orange">
    <p:bg>
      <p:bgPr>
        <a:gradFill>
          <a:gsLst>
            <a:gs pos="0">
              <a:srgbClr val="983222"/>
            </a:gs>
            <a:gs pos="100000">
              <a:srgbClr val="E983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390B55-9157-4153-BA72-3B90C02644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862444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divider orange">
    <p:bg>
      <p:bgPr>
        <a:gradFill>
          <a:gsLst>
            <a:gs pos="18000">
              <a:srgbClr val="E98300"/>
            </a:gs>
            <a:gs pos="0">
              <a:srgbClr val="E98300"/>
            </a:gs>
            <a:gs pos="100000">
              <a:srgbClr val="EEAF00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4897" y="2052000"/>
            <a:ext cx="8637751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0390B55-9157-4153-BA72-3B90C02644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130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57372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1F58990-F6FE-47C5-BC21-2A45263505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1F58990-F6FE-47C5-BC21-2A4526350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0"/>
            <a:ext cx="4656667" cy="6858000"/>
          </a:xfrm>
          <a:prstGeom prst="rect">
            <a:avLst/>
          </a:prstGeom>
          <a:solidFill>
            <a:srgbClr val="004D79">
              <a:alpha val="89804"/>
            </a:srgb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23334" y="1625597"/>
            <a:ext cx="3801533" cy="4250616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  <a:p>
            <a:pPr lvl="0"/>
            <a:endParaRPr lang="en-US" noProof="0" dirty="0"/>
          </a:p>
          <a:p>
            <a:pPr lvl="0"/>
            <a:endParaRPr lang="en-US" noProof="0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B25F741-4DE1-41E1-8A68-93B346DCAE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788970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622BA5-BC34-4A58-9264-E2D05A0F24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2622BA5-BC34-4A58-9264-E2D05A0F24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535335" y="0"/>
            <a:ext cx="4656667" cy="68580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52002" y="1625600"/>
            <a:ext cx="3820897" cy="425132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4DD6326-33BA-4174-807D-738A31A7001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10740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overlay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7DA24CE-89CA-4008-85D4-D98FA9672B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7DA24CE-89CA-4008-85D4-D98FA9672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0" y="5245103"/>
            <a:ext cx="12192000" cy="1612900"/>
          </a:xfrm>
          <a:prstGeom prst="rect">
            <a:avLst/>
          </a:prstGeom>
          <a:solidFill>
            <a:schemeClr val="accent1">
              <a:lumMod val="75000"/>
              <a:alpha val="9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3100" y="5624422"/>
            <a:ext cx="10847917" cy="86994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5C95AE-299F-431B-AB66-08FC9F22E31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013751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ABAA68A-08EA-496D-B665-88DDACBC07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ABAA68A-08EA-496D-B665-88DDACBC07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3100" y="323940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EFB6CD9-7626-429B-A638-CA2C3907F2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6699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een">
    <p:bg>
      <p:bgPr>
        <a:gradFill>
          <a:gsLst>
            <a:gs pos="100000">
              <a:srgbClr val="A4B507"/>
            </a:gs>
            <a:gs pos="18000">
              <a:srgbClr val="5B8F22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91"/>
            <a:ext cx="12182073" cy="6856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52564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small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486757-F9A3-4F23-8717-59ECFD7A89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486757-F9A3-4F23-8717-59ECFD7A8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333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841017" y="998220"/>
            <a:ext cx="4680000" cy="2628000"/>
          </a:xfrm>
          <a:prstGeom prst="rect">
            <a:avLst/>
          </a:prstGeom>
          <a:solidFill>
            <a:srgbClr val="004D79">
              <a:alpha val="90000"/>
            </a:srgbClr>
          </a:solidFill>
        </p:spPr>
        <p:txBody>
          <a:bodyPr lIns="134955" tIns="134955" rIns="134955" bIns="134955"/>
          <a:lstStyle>
            <a:lvl1pPr marL="0" indent="0" algn="l">
              <a:lnSpc>
                <a:spcPct val="100000"/>
              </a:lnSpc>
              <a:spcBef>
                <a:spcPts val="0"/>
              </a:spcBef>
              <a:buClr>
                <a:schemeClr val="bg1"/>
              </a:buClr>
              <a:buFont typeface="Arial" panose="020B0604020202020204" pitchFamily="34" charset="0"/>
              <a:buNone/>
              <a:defRPr sz="48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B6A7725E-E42D-449C-A552-89E34F170F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041019" y="288001"/>
            <a:ext cx="480000" cy="609729"/>
          </a:xfrm>
          <a:blipFill dpi="0" rotWithShape="1">
            <a:blip r:embed="rId5">
              <a:alphaModFix amt="90000"/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1072112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3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50CE0E-F179-458C-AEB1-36BDA9AF4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50CE0E-F179-458C-AEB1-36BDA9AF4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FE540E8-853F-49F5-AAA0-593FDDFCB4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6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4C2BE2D-951F-4D2E-A248-5E79BA206EF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me period, data scenario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441B2E9-68F4-4A38-9D55-0A18643918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058F3F5-669F-4BEE-968A-F64356A6CD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ent, unit measuremen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7762C03-275A-4B1F-B234-561444D869D2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9E35EF-ADB2-4164-B32F-9BDCE33D2151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25F407-F7B2-457F-BADC-5D7E348202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C4A983AC-6F9B-471B-87E8-D4505A31FE4E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0FB69-E866-4F1C-87F8-ADA6A511DB1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25942" y="1264357"/>
            <a:ext cx="1194011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4080364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4 rows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AB418BD-1930-49DC-9A84-0178614669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AB418BD-1930-49DC-9A84-0178614669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894897C-9089-4E46-A4DC-D9375AE2C9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24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5C9809-688D-4100-A0FE-DB6EB41BC20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F164E04-503E-48E0-8056-F4A846A8D609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3E3274A-0D5B-4B5E-963A-4AD0C038490E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4" name="Straight Connector 17">
            <a:extLst>
              <a:ext uri="{FF2B5EF4-FFF2-40B4-BE49-F238E27FC236}">
                <a16:creationId xmlns:a16="http://schemas.microsoft.com/office/drawing/2014/main" id="{073504F8-A36C-4A96-9962-DBD59D731B7C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7E0385-9465-469B-9CA7-ABB0EB4E48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2" y="1264358"/>
            <a:ext cx="11940119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76666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orient="horz" pos="534">
          <p15:clr>
            <a:srgbClr val="FBAE40"/>
          </p15:clr>
        </p15:guide>
        <p15:guide id="3" pos="5697">
          <p15:clr>
            <a:srgbClr val="FBAE40"/>
          </p15:clr>
        </p15:guide>
        <p15:guide id="4" orient="horz" pos="3934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C896B7-FACB-4D7B-A4F4-8CE484CBAD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C896B7-FACB-4D7B-A4F4-8CE484CBAD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ADAA302-4954-4070-845B-E3247AC801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1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913354F-6E59-49EF-93BE-EAF0DC89F6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7171BA3-E603-4FDD-B59F-EF9A1D5D5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FD21293-C0ED-4019-808D-8F22DD7C37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CDAF2D5-0296-4D0F-805B-B7D70457980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50E6CF-65D4-44D5-BB75-32FC616FF2E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3B535E-80AA-4B5F-B505-6AE4D82B205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779868-A62C-4FF8-88BB-692DFBB3AF3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3" name="Straight Connector 17">
            <a:extLst>
              <a:ext uri="{FF2B5EF4-FFF2-40B4-BE49-F238E27FC236}">
                <a16:creationId xmlns:a16="http://schemas.microsoft.com/office/drawing/2014/main" id="{8CA4B699-1B76-42B1-970D-8B5F927F5D43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2380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no top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147BB81-5ED6-4620-B6AB-9F7CAE2CB6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147BB81-5ED6-4620-B6AB-9F7CAE2CB6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4C154A-EDEF-494B-95FD-05C9428083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2B18CF-CA9C-4A69-B7C8-A4C94FF29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86AD015-F4ED-4FC4-A52C-B985B1A9C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E7AFA2-6720-468E-9F40-2499D9FB7B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50CCBDD5-A078-4F63-AC4E-A4BB95B75007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9118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A73966E-CFE3-49CC-B52A-C5B637544F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A73966E-CFE3-49CC-B52A-C5B637544F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FC3CDD-A9EE-4A29-BDB5-DDD9F2931D2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3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BB6E0D-3F39-440A-BD9D-79E5F24876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E28750-0E4B-4D33-9132-AD81766D92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C5D1072-8A57-4985-9114-7AB80099D9D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22D0EE4-A772-43CA-87B6-4AAA26C168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82124D-0640-4AE6-AECC-F4880DA1C39A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1E07C9-1AA8-427A-8D3F-F90DA800C51B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797C04-425D-49F7-8B2B-D4A178C161E5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F4A6D036-B440-4848-AD09-10D95A6851EB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98D6D76-355E-455E-9573-01D135D9D92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73815" y="1264358"/>
            <a:ext cx="3592245" cy="50348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44399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 review – text box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E039C25-38EE-4409-8846-AD3780FDA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E039C25-38EE-4409-8846-AD3780FD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31B7F0-8291-45AD-B310-18C6F32CA15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133"/>
              </a:lnSpc>
              <a:spcBef>
                <a:spcPct val="0"/>
              </a:spcBef>
              <a:spcAft>
                <a:spcPct val="0"/>
              </a:spcAft>
            </a:pPr>
            <a:endParaRPr lang="en-US" sz="2133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2" name="Titel 4"/>
          <p:cNvSpPr>
            <a:spLocks noGrp="1"/>
          </p:cNvSpPr>
          <p:nvPr>
            <p:ph type="title" hasCustomPrompt="1"/>
          </p:nvPr>
        </p:nvSpPr>
        <p:spPr>
          <a:xfrm>
            <a:off x="3373123" y="52207"/>
            <a:ext cx="6988539" cy="787200"/>
          </a:xfrm>
        </p:spPr>
        <p:txBody>
          <a:bodyPr/>
          <a:lstStyle>
            <a:lvl1pPr algn="l">
              <a:lnSpc>
                <a:spcPts val="2133"/>
              </a:lnSpc>
              <a:defRPr sz="2133"/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7066FA14-A13E-4C88-AA9E-2E47483D508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5941" y="471161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nit of measurement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98432D-6F74-40F0-A171-A0B5FD017FA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5941" y="680640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eriod, data scenario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1023FC6-6139-470D-844E-BC0D615613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5941" y="52207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porting entity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2569437-C2DB-4F3A-9508-BB720F4BFE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5941" y="261684"/>
            <a:ext cx="3133256" cy="172800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067" b="1" baseline="0">
                <a:solidFill>
                  <a:schemeClr val="tx1"/>
                </a:solidFill>
              </a:defRPr>
            </a:lvl1pPr>
          </a:lstStyle>
          <a:p>
            <a:r>
              <a:rPr lang="en-US" dirty="0" err="1"/>
              <a:t>P&amp;L</a:t>
            </a:r>
            <a:r>
              <a:rPr lang="en-US" dirty="0"/>
              <a:t> detail per busines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7D807E-C4CE-4AA4-8ED9-448491339E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8CB85-32FF-48FD-9896-C7B7E8F6EDB6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580397-EA1F-41BE-8CB8-EE87F91FA060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cxnSp>
        <p:nvCxnSpPr>
          <p:cNvPr id="15" name="Straight Connector 17">
            <a:extLst>
              <a:ext uri="{FF2B5EF4-FFF2-40B4-BE49-F238E27FC236}">
                <a16:creationId xmlns:a16="http://schemas.microsoft.com/office/drawing/2014/main" id="{C539D5CE-18F8-4235-A29E-31342295EE0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0" y="1190047"/>
            <a:ext cx="12192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6F1E93-15E1-4055-8C44-6E1B52D56A8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25941" y="4704080"/>
            <a:ext cx="5089496" cy="159512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58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">
          <p15:clr>
            <a:srgbClr val="FBAE40"/>
          </p15:clr>
        </p15:guide>
        <p15:guide id="2" pos="5696">
          <p15:clr>
            <a:srgbClr val="FBAE40"/>
          </p15:clr>
        </p15:guide>
        <p15:guide id="3" orient="horz" pos="3934">
          <p15:clr>
            <a:srgbClr val="FBAE40"/>
          </p15:clr>
        </p15:guide>
        <p15:guide id="4" orient="horz" pos="534">
          <p15:clr>
            <a:srgbClr val="FBAE40"/>
          </p15:clr>
        </p15:guide>
        <p15:guide id="5" orient="horz" pos="5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ue">
    <p:bg>
      <p:bgPr>
        <a:gradFill>
          <a:gsLst>
            <a:gs pos="0">
              <a:srgbClr val="003478"/>
            </a:gs>
            <a:gs pos="100000">
              <a:srgbClr val="0089C4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317471" y="2447784"/>
            <a:ext cx="1526003" cy="1943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229004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white">
          <a:xfrm>
            <a:off x="143339" y="6237312"/>
            <a:ext cx="11905323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1" tIns="54420" rIns="108841" bIns="54420" rtlCol="0" anchor="ctr"/>
          <a:lstStyle/>
          <a:p>
            <a:pPr algn="ctr"/>
            <a:endParaRPr lang="en-US" sz="2400" dirty="0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D2D99289-1788-4094-95D8-16BE8E42F8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7471" y="2447783"/>
            <a:ext cx="1526003" cy="1939933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27115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0484" y="241300"/>
            <a:ext cx="8828616" cy="47625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486" y="1289051"/>
            <a:ext cx="10949516" cy="5016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Warszawa, 24 października 2014</a:t>
            </a:r>
            <a:endParaRPr lang="en-GB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77FD2A9-9047-4530-96F9-69875D943590}" type="slidenum">
              <a:rPr lang="en-GB" altLang="pl-PL"/>
              <a:pPr/>
              <a:t>‹#›</a:t>
            </a:fld>
            <a:endParaRPr lang="en-GB" altLang="pl-PL"/>
          </a:p>
        </p:txBody>
      </p:sp>
    </p:spTree>
    <p:extLst>
      <p:ext uri="{BB962C8B-B14F-4D97-AF65-F5344CB8AC3E}">
        <p14:creationId xmlns:p14="http://schemas.microsoft.com/office/powerpoint/2010/main" val="2867368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ink">
    <p:bg>
      <p:bgPr>
        <a:gradFill>
          <a:gsLst>
            <a:gs pos="0">
              <a:srgbClr val="91004B"/>
            </a:gs>
            <a:gs pos="100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6781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3100" y="1623486"/>
            <a:ext cx="5088467" cy="4614333"/>
          </a:xfrm>
        </p:spPr>
        <p:txBody>
          <a:bodyPr/>
          <a:lstStyle>
            <a:lvl1pPr marL="215995" indent="-215995">
              <a:lnSpc>
                <a:spcPts val="2160"/>
              </a:lnSpc>
              <a:spcBef>
                <a:spcPts val="0"/>
              </a:spcBef>
              <a:defRPr sz="1733"/>
            </a:lvl1pPr>
            <a:lvl2pPr marL="431989" indent="-182395">
              <a:lnSpc>
                <a:spcPts val="2160"/>
              </a:lnSpc>
              <a:spcBef>
                <a:spcPts val="0"/>
              </a:spcBef>
              <a:defRPr sz="1600"/>
            </a:lvl2pPr>
            <a:lvl3pPr marL="575986" indent="-143996">
              <a:lnSpc>
                <a:spcPts val="2160"/>
              </a:lnSpc>
              <a:spcBef>
                <a:spcPts val="0"/>
              </a:spcBef>
              <a:defRPr sz="1333"/>
            </a:lvl3pPr>
            <a:lvl4pPr marL="791980" indent="-215995">
              <a:lnSpc>
                <a:spcPts val="2160"/>
              </a:lnSpc>
              <a:spcBef>
                <a:spcPts val="0"/>
              </a:spcBef>
              <a:defRPr sz="1333"/>
            </a:lvl4pPr>
            <a:lvl5pPr marL="935977" indent="-143996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432551" y="1623486"/>
            <a:ext cx="5088467" cy="4614333"/>
          </a:xfrm>
        </p:spPr>
        <p:txBody>
          <a:bodyPr/>
          <a:lstStyle>
            <a:lvl1pPr marL="215995" indent="-215995">
              <a:lnSpc>
                <a:spcPts val="2160"/>
              </a:lnSpc>
              <a:spcBef>
                <a:spcPts val="0"/>
              </a:spcBef>
              <a:defRPr sz="1733"/>
            </a:lvl1pPr>
            <a:lvl2pPr marL="431989" indent="-182395">
              <a:lnSpc>
                <a:spcPts val="2160"/>
              </a:lnSpc>
              <a:spcBef>
                <a:spcPts val="0"/>
              </a:spcBef>
              <a:defRPr sz="1600"/>
            </a:lvl2pPr>
            <a:lvl3pPr marL="575986" indent="-143996">
              <a:lnSpc>
                <a:spcPts val="2160"/>
              </a:lnSpc>
              <a:spcBef>
                <a:spcPts val="0"/>
              </a:spcBef>
              <a:defRPr sz="1333"/>
            </a:lvl3pPr>
            <a:lvl4pPr marL="791980" indent="-215995">
              <a:lnSpc>
                <a:spcPts val="2160"/>
              </a:lnSpc>
              <a:spcBef>
                <a:spcPts val="0"/>
              </a:spcBef>
              <a:defRPr sz="1333"/>
            </a:lvl4pPr>
            <a:lvl5pPr marL="935977" indent="-143996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73102" y="508002"/>
            <a:ext cx="10847917" cy="9313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3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242826" y="6464933"/>
            <a:ext cx="266631" cy="2002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12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9" name="Date Placeholder 1"/>
          <p:cNvSpPr>
            <a:spLocks noGrp="1"/>
          </p:cNvSpPr>
          <p:nvPr>
            <p:ph type="dt" sz="half" idx="2"/>
          </p:nvPr>
        </p:nvSpPr>
        <p:spPr>
          <a:xfrm>
            <a:off x="673101" y="6512606"/>
            <a:ext cx="958356" cy="1439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33" smtClean="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5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33">
                <a:solidFill>
                  <a:srgbClr val="000000"/>
                </a:solidFill>
                <a:latin typeface="Calibri"/>
              </a:defRPr>
            </a:lvl1pPr>
          </a:lstStyle>
          <a:p>
            <a:r>
              <a:rPr lang="en-US"/>
              <a:t>Footer appear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7314576"/>
      </p:ext>
    </p:extLst>
  </p:cSld>
  <p:clrMapOvr>
    <a:masterClrMapping/>
  </p:clrMapOvr>
  <p:hf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7053" y="565151"/>
            <a:ext cx="11137900" cy="776288"/>
          </a:xfrm>
          <a:prstGeom prst="rect">
            <a:avLst/>
          </a:prstGeom>
        </p:spPr>
        <p:txBody>
          <a:bodyPr/>
          <a:lstStyle>
            <a:lvl1pPr algn="l">
              <a:defRPr sz="2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30581" y="1346200"/>
            <a:ext cx="111379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18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863373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720005" y="6381329"/>
            <a:ext cx="4079828" cy="340147"/>
          </a:xfrm>
        </p:spPr>
        <p:txBody>
          <a:bodyPr/>
          <a:lstStyle/>
          <a:p>
            <a:r>
              <a:rPr lang="fr-BE"/>
              <a:t>www.medtecheurope.org</a:t>
            </a:r>
            <a:endParaRPr lang="fr-BE" dirty="0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11664619" y="6473229"/>
            <a:ext cx="384043" cy="34014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l" defTabSz="914400" rtl="0" eaLnBrk="1" latinLnBrk="0" hangingPunct="1">
              <a:defRPr sz="1200" b="1" kern="1200">
                <a:solidFill>
                  <a:srgbClr val="5B339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BE" sz="1200"/>
              <a:t>1</a:t>
            </a:r>
            <a:endParaRPr lang="fr-BE" sz="1200" dirty="0"/>
          </a:p>
        </p:txBody>
      </p:sp>
    </p:spTree>
    <p:extLst>
      <p:ext uri="{BB962C8B-B14F-4D97-AF65-F5344CB8AC3E}">
        <p14:creationId xmlns:p14="http://schemas.microsoft.com/office/powerpoint/2010/main" val="28853612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535335" y="0"/>
            <a:ext cx="4656667" cy="6858000"/>
          </a:xfrm>
          <a:prstGeom prst="rect">
            <a:avLst/>
          </a:prstGeom>
          <a:gradFill>
            <a:gsLst>
              <a:gs pos="27000">
                <a:srgbClr val="26AA9A">
                  <a:lumMod val="100000"/>
                </a:srgbClr>
              </a:gs>
              <a:gs pos="100000">
                <a:srgbClr val="26AA9A">
                  <a:lumMod val="75000"/>
                  <a:lumOff val="25000"/>
                </a:srgbClr>
              </a:gs>
            </a:gsLst>
            <a:lin ang="2700000" scaled="1"/>
          </a:gra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platzhalt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73099" y="508002"/>
            <a:ext cx="6047348" cy="9313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20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7952409" y="529391"/>
            <a:ext cx="3811804" cy="2743199"/>
          </a:xfrm>
          <a:prstGeom prst="rect">
            <a:avLst/>
          </a:prstGeom>
        </p:spPr>
        <p:txBody>
          <a:bodyPr lIns="68562" tIns="34281" rIns="68562" bIns="34281"/>
          <a:lstStyle>
            <a:lvl1pPr marL="0" indent="0">
              <a:buNone/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7952407" y="3537399"/>
            <a:ext cx="3811804" cy="2743199"/>
          </a:xfrm>
          <a:prstGeom prst="rect">
            <a:avLst/>
          </a:prstGeom>
        </p:spPr>
        <p:txBody>
          <a:bodyPr lIns="68562" tIns="34281" rIns="68562" bIns="34281"/>
          <a:lstStyle>
            <a:lvl1pPr marL="0" indent="0">
              <a:buNone/>
              <a:defRPr sz="1333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73100" y="1623486"/>
            <a:ext cx="6047435" cy="4614333"/>
          </a:xfrm>
          <a:prstGeom prst="rect">
            <a:avLst/>
          </a:prstGeom>
        </p:spPr>
        <p:txBody>
          <a:bodyPr lIns="0" tIns="0" rIns="0" bIns="0" spcCol="385658" anchor="b"/>
          <a:lstStyle>
            <a:lvl1pPr marL="215923" marR="0" indent="-215923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2133" baseline="0">
                <a:solidFill>
                  <a:srgbClr val="515151"/>
                </a:solidFill>
              </a:defRPr>
            </a:lvl1pPr>
            <a:lvl2pPr marL="431847" indent="-179936">
              <a:lnSpc>
                <a:spcPts val="216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600"/>
            </a:lvl2pPr>
            <a:lvl3pPr marL="575794" indent="-143948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3pPr>
            <a:lvl4pPr marL="791718" indent="-179936">
              <a:lnSpc>
                <a:spcPts val="216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333"/>
            </a:lvl4pPr>
            <a:lvl5pPr marL="935665" indent="-143948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5pPr>
            <a:lvl6pPr marL="1542595" indent="-272097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6pPr>
            <a:lvl7pPr marL="1799692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7pPr>
            <a:lvl8pPr marL="2056793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8pPr>
            <a:lvl9pPr marL="2313891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9pPr>
          </a:lstStyle>
          <a:p>
            <a:pPr lvl="0"/>
            <a:r>
              <a:rPr lang="en-US" noProof="0" dirty="0"/>
              <a:t>Click to add copy</a:t>
            </a:r>
          </a:p>
          <a:p>
            <a:pPr marL="215923" marR="0" lvl="0" indent="-215923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noProof="0" dirty="0"/>
              <a:t>Click to add copy</a:t>
            </a:r>
          </a:p>
          <a:p>
            <a:pPr marL="215923" marR="0" lvl="0" indent="-215923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noProof="0" dirty="0"/>
              <a:t>Click to add copy</a:t>
            </a:r>
          </a:p>
        </p:txBody>
      </p:sp>
      <p:sp>
        <p:nvSpPr>
          <p:cNvPr id="13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242826" y="6485813"/>
            <a:ext cx="266631" cy="2002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12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6340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7417017"/>
      </p:ext>
    </p:extLst>
  </p:cSld>
  <p:clrMapOvr>
    <a:masterClrMapping/>
  </p:clrMapOvr>
  <p:hf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07999"/>
            <a:ext cx="10847917" cy="9313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12190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673100" y="1623486"/>
            <a:ext cx="10847917" cy="4614333"/>
          </a:xfrm>
          <a:prstGeom prst="rect">
            <a:avLst/>
          </a:prstGeom>
        </p:spPr>
        <p:txBody>
          <a:bodyPr lIns="0" tIns="0" rIns="0" bIns="0" spcCol="385658"/>
          <a:lstStyle>
            <a:lvl1pPr marL="215923" indent="-215923">
              <a:lnSpc>
                <a:spcPts val="2160"/>
              </a:lnSpc>
              <a:spcBef>
                <a:spcPts val="0"/>
              </a:spcBef>
              <a:defRPr sz="1733"/>
            </a:lvl1pPr>
            <a:lvl2pPr marL="431847" indent="-179936">
              <a:lnSpc>
                <a:spcPts val="216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600"/>
            </a:lvl2pPr>
            <a:lvl3pPr marL="575794" indent="-143948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3pPr>
            <a:lvl4pPr marL="791718" indent="-214249">
              <a:lnSpc>
                <a:spcPts val="2160"/>
              </a:lnSpc>
              <a:spcBef>
                <a:spcPts val="0"/>
              </a:spcBef>
              <a:buFont typeface="Calibri" panose="020F0502020204030204" pitchFamily="34" charset="0"/>
              <a:buChar char="–"/>
              <a:defRPr sz="1333"/>
            </a:lvl4pPr>
            <a:lvl5pPr marL="935665" indent="-143948">
              <a:lnSpc>
                <a:spcPts val="216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33"/>
            </a:lvl5pPr>
            <a:lvl6pPr marL="1542595" indent="-272097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6pPr>
            <a:lvl7pPr marL="1799692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7pPr>
            <a:lvl8pPr marL="2056793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8pPr>
            <a:lvl9pPr marL="2313891" indent="-257099">
              <a:spcBef>
                <a:spcPts val="0"/>
              </a:spcBef>
              <a:buFont typeface="Calibri" panose="020F0502020204030204" pitchFamily="34" charset="0"/>
              <a:buChar char="─"/>
              <a:defRPr sz="2133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242826" y="6464933"/>
            <a:ext cx="266631" cy="2002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1200" smtClean="0">
                <a:solidFill>
                  <a:srgbClr val="000000"/>
                </a:solidFill>
                <a:latin typeface="Calibri"/>
              </a:defRPr>
            </a:lvl1pPr>
          </a:lstStyle>
          <a:p>
            <a:fld id="{793332C0-45F3-49F7-8962-3AD7701CBA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4" name="Date Placeholder 1"/>
          <p:cNvSpPr>
            <a:spLocks noGrp="1"/>
          </p:cNvSpPr>
          <p:nvPr>
            <p:ph type="dt" sz="half" idx="2"/>
          </p:nvPr>
        </p:nvSpPr>
        <p:spPr>
          <a:xfrm>
            <a:off x="673101" y="6512606"/>
            <a:ext cx="958356" cy="1439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33" smtClean="0">
                <a:solidFill>
                  <a:srgbClr val="000000"/>
                </a:solidFill>
                <a:latin typeface="Calibri"/>
              </a:defRPr>
            </a:lvl1pPr>
          </a:lstStyle>
          <a:p>
            <a:endParaRPr lang="en-US" dirty="0"/>
          </a:p>
        </p:txBody>
      </p:sp>
      <p:sp>
        <p:nvSpPr>
          <p:cNvPr id="65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  <a:noFill/>
          <a:ln w="0"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>
              <a:defRPr lang="en-GB" sz="933">
                <a:solidFill>
                  <a:srgbClr val="000000"/>
                </a:solidFill>
                <a:latin typeface="Calibri"/>
              </a:defRPr>
            </a:lvl1pPr>
          </a:lstStyle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60086798"/>
      </p:ext>
    </p:extLst>
  </p:cSld>
  <p:clrMapOvr>
    <a:masterClrMapping/>
  </p:clrMapOvr>
  <p:hf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ull bleed photo overlay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535333" y="0"/>
            <a:ext cx="4656667" cy="6858000"/>
          </a:xfrm>
          <a:prstGeom prst="rect">
            <a:avLst/>
          </a:prstGeom>
          <a:solidFill>
            <a:schemeClr val="accent1">
              <a:lumMod val="75000"/>
              <a:alpha val="80000"/>
            </a:schemeClr>
          </a:solidFill>
        </p:spPr>
        <p:txBody>
          <a:bodyPr vert="horz"/>
          <a:lstStyle>
            <a:lvl1pPr marL="0" indent="0">
              <a:buFontTx/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52003" y="1625600"/>
            <a:ext cx="3784864" cy="18034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3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37925410"/>
      </p:ext>
    </p:extLst>
  </p:cSld>
  <p:clrMapOvr>
    <a:masterClrMapping/>
  </p:clrMapOvr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2" y="1"/>
            <a:ext cx="12192001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377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2680" y="516495"/>
            <a:ext cx="10084059" cy="125829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3867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985" y="2083443"/>
            <a:ext cx="10839448" cy="4128973"/>
          </a:xfrm>
          <a:prstGeom prst="rect">
            <a:avLst/>
          </a:prstGeom>
        </p:spPr>
        <p:txBody>
          <a:bodyPr lIns="0" rIns="0" numCol="2" spcCol="180000"/>
          <a:lstStyle>
            <a:lvl1pPr marL="0" indent="0">
              <a:buFont typeface="Arial" charset="0"/>
              <a:buNone/>
              <a:defRPr sz="1467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8281" y="289983"/>
            <a:ext cx="480619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162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7174993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>
            <a:spLocks noGrp="1"/>
          </p:cNvSpPr>
          <p:nvPr>
            <p:ph type="pic" idx="13"/>
          </p:nvPr>
        </p:nvSpPr>
        <p:spPr>
          <a:xfrm>
            <a:off x="624615" y="354045"/>
            <a:ext cx="6282475" cy="620898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43" name="Shape 4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22788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pink">
    <p:bg>
      <p:bgPr>
        <a:gradFill>
          <a:gsLst>
            <a:gs pos="100000">
              <a:srgbClr val="E59AAA"/>
            </a:gs>
            <a:gs pos="18000">
              <a:srgbClr val="EC4371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27205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Shape 50"/>
          <p:cNvSpPr>
            <a:spLocks noGrp="1"/>
          </p:cNvSpPr>
          <p:nvPr>
            <p:ph type="pic" sz="half" idx="13"/>
          </p:nvPr>
        </p:nvSpPr>
        <p:spPr>
          <a:xfrm>
            <a:off x="700329" y="582468"/>
            <a:ext cx="5662911" cy="554003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1" name="Shape 5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8279945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>
            <a:spLocks noGrp="1"/>
          </p:cNvSpPr>
          <p:nvPr>
            <p:ph type="pic" idx="13"/>
          </p:nvPr>
        </p:nvSpPr>
        <p:spPr>
          <a:xfrm>
            <a:off x="664337" y="517087"/>
            <a:ext cx="11335277" cy="375994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59" name="Shape 5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9490350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Shape 66"/>
          <p:cNvSpPr>
            <a:spLocks noGrp="1"/>
          </p:cNvSpPr>
          <p:nvPr>
            <p:ph type="pic" idx="13"/>
          </p:nvPr>
        </p:nvSpPr>
        <p:spPr>
          <a:xfrm>
            <a:off x="851270" y="512208"/>
            <a:ext cx="10030618" cy="396212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67" name="Shape 67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3726778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/>
          </p:cNvSpPr>
          <p:nvPr>
            <p:ph type="pic" sz="half" idx="13"/>
          </p:nvPr>
        </p:nvSpPr>
        <p:spPr>
          <a:xfrm>
            <a:off x="1002457" y="956953"/>
            <a:ext cx="4146857" cy="494409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13704397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pic" sz="half" idx="13"/>
          </p:nvPr>
        </p:nvSpPr>
        <p:spPr>
          <a:xfrm>
            <a:off x="1338412" y="643393"/>
            <a:ext cx="3875033" cy="557121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3" name="Shape 83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9460328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Shape 90"/>
          <p:cNvSpPr>
            <a:spLocks noGrp="1"/>
          </p:cNvSpPr>
          <p:nvPr>
            <p:ph type="pic" sz="half" idx="13"/>
          </p:nvPr>
        </p:nvSpPr>
        <p:spPr>
          <a:xfrm>
            <a:off x="944038" y="956953"/>
            <a:ext cx="4500630" cy="494409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1" name="Shape 9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90108802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Shape 98"/>
          <p:cNvSpPr>
            <a:spLocks noGrp="1"/>
          </p:cNvSpPr>
          <p:nvPr>
            <p:ph type="pic" sz="half" idx="13"/>
          </p:nvPr>
        </p:nvSpPr>
        <p:spPr>
          <a:xfrm>
            <a:off x="1130390" y="947683"/>
            <a:ext cx="3603011" cy="496263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99" name="Shape 9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0019709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>
            <a:spLocks noGrp="1"/>
          </p:cNvSpPr>
          <p:nvPr>
            <p:ph type="pic" sz="quarter" idx="13"/>
          </p:nvPr>
        </p:nvSpPr>
        <p:spPr>
          <a:xfrm>
            <a:off x="4189865" y="1074762"/>
            <a:ext cx="2224586" cy="22109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07" name="Shape 107"/>
          <p:cNvSpPr>
            <a:spLocks noGrp="1"/>
          </p:cNvSpPr>
          <p:nvPr>
            <p:ph type="pic" sz="quarter" idx="14"/>
          </p:nvPr>
        </p:nvSpPr>
        <p:spPr>
          <a:xfrm>
            <a:off x="6687404" y="1074761"/>
            <a:ext cx="2224586" cy="22109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08" name="Shape 108"/>
          <p:cNvSpPr>
            <a:spLocks noGrp="1"/>
          </p:cNvSpPr>
          <p:nvPr>
            <p:ph type="pic" sz="quarter" idx="15"/>
          </p:nvPr>
        </p:nvSpPr>
        <p:spPr>
          <a:xfrm>
            <a:off x="9184946" y="3572302"/>
            <a:ext cx="2224586" cy="22109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09" name="Shape 109"/>
          <p:cNvSpPr>
            <a:spLocks noGrp="1"/>
          </p:cNvSpPr>
          <p:nvPr>
            <p:ph type="pic" sz="quarter" idx="16"/>
          </p:nvPr>
        </p:nvSpPr>
        <p:spPr>
          <a:xfrm>
            <a:off x="4189865" y="3572302"/>
            <a:ext cx="2224586" cy="22109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0" name="Shape 110"/>
          <p:cNvSpPr>
            <a:spLocks noGrp="1"/>
          </p:cNvSpPr>
          <p:nvPr>
            <p:ph type="pic" sz="quarter" idx="17"/>
          </p:nvPr>
        </p:nvSpPr>
        <p:spPr>
          <a:xfrm>
            <a:off x="9184944" y="1074761"/>
            <a:ext cx="2224586" cy="22109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1" name="Shape 111"/>
          <p:cNvSpPr>
            <a:spLocks noGrp="1"/>
          </p:cNvSpPr>
          <p:nvPr>
            <p:ph type="pic" sz="quarter" idx="18"/>
          </p:nvPr>
        </p:nvSpPr>
        <p:spPr>
          <a:xfrm>
            <a:off x="6687405" y="3572302"/>
            <a:ext cx="2224586" cy="221094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12" name="Shape 11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2426459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Shape 119"/>
          <p:cNvSpPr>
            <a:spLocks noGrp="1"/>
          </p:cNvSpPr>
          <p:nvPr>
            <p:ph type="pic" sz="quarter" idx="13"/>
          </p:nvPr>
        </p:nvSpPr>
        <p:spPr>
          <a:xfrm>
            <a:off x="3788445" y="2554940"/>
            <a:ext cx="2027824" cy="255046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0" name="Shape 120"/>
          <p:cNvSpPr>
            <a:spLocks noGrp="1"/>
          </p:cNvSpPr>
          <p:nvPr>
            <p:ph type="pic" sz="quarter" idx="14"/>
          </p:nvPr>
        </p:nvSpPr>
        <p:spPr>
          <a:xfrm>
            <a:off x="6396320" y="1281954"/>
            <a:ext cx="3414154" cy="429409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1" name="Shape 121"/>
          <p:cNvSpPr>
            <a:spLocks noGrp="1"/>
          </p:cNvSpPr>
          <p:nvPr>
            <p:ph type="pic" sz="quarter" idx="15"/>
          </p:nvPr>
        </p:nvSpPr>
        <p:spPr>
          <a:xfrm>
            <a:off x="1298984" y="2554940"/>
            <a:ext cx="2027824" cy="255046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22" name="Shape 12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15640778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Shape 129"/>
          <p:cNvSpPr>
            <a:spLocks noGrp="1"/>
          </p:cNvSpPr>
          <p:nvPr>
            <p:ph type="pic" sz="half" idx="13"/>
          </p:nvPr>
        </p:nvSpPr>
        <p:spPr>
          <a:xfrm>
            <a:off x="2805956" y="950260"/>
            <a:ext cx="3913093" cy="4921627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0" name="Shape 13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501468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dark purple">
    <p:bg>
      <p:bgPr>
        <a:gradFill>
          <a:gsLst>
            <a:gs pos="0">
              <a:srgbClr val="631D76"/>
            </a:gs>
            <a:gs pos="100000">
              <a:srgbClr val="7D0063"/>
            </a:gs>
          </a:gsLst>
          <a:lin ang="2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5F3BA2-B27F-4D6D-85C6-0EB92E2D65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5F3BA2-B27F-4D6D-85C6-0EB92E2D65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C3653E61-8455-43DD-85E1-3EFD32553394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 bwMode="white">
          <a:xfrm>
            <a:off x="1116584" y="4753875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Author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D300ACA-1DDA-445B-9241-4ACC24CFD5AE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 bwMode="white">
          <a:xfrm>
            <a:off x="1116584" y="5006160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Busines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3DFCA62A-CA79-426E-B592-49ABCC31F8A8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 bwMode="white">
          <a:xfrm>
            <a:off x="1116584" y="5258446"/>
            <a:ext cx="5766521" cy="252285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4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_Dat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26F3FA1-170D-4773-936E-E5E7447A5872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 bwMode="white">
          <a:xfrm>
            <a:off x="1116583" y="2718323"/>
            <a:ext cx="8226211" cy="16093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  <a:latin typeface="+mj-lt"/>
              </a:defRPr>
            </a:lvl1pPr>
            <a:lvl2pPr>
              <a:defRPr sz="6400"/>
            </a:lvl2pPr>
            <a:lvl3pPr>
              <a:defRPr sz="6400"/>
            </a:lvl3pPr>
            <a:lvl4pPr>
              <a:defRPr sz="6400"/>
            </a:lvl4pPr>
            <a:lvl5pPr>
              <a:defRPr sz="6400"/>
            </a:lvl5pPr>
          </a:lstStyle>
          <a:p>
            <a:pPr lvl="0"/>
            <a:r>
              <a:rPr lang="en-US" noProof="0" dirty="0"/>
              <a:t>Presentation title 36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93"/>
            <a:ext cx="12182071" cy="6856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97688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Shape 137"/>
          <p:cNvSpPr>
            <a:spLocks noGrp="1"/>
          </p:cNvSpPr>
          <p:nvPr>
            <p:ph type="pic" sz="quarter" idx="13"/>
          </p:nvPr>
        </p:nvSpPr>
        <p:spPr>
          <a:xfrm>
            <a:off x="3866977" y="3243264"/>
            <a:ext cx="2305397" cy="22685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8" name="Shape 138"/>
          <p:cNvSpPr>
            <a:spLocks noGrp="1"/>
          </p:cNvSpPr>
          <p:nvPr>
            <p:ph type="pic" sz="quarter" idx="14"/>
          </p:nvPr>
        </p:nvSpPr>
        <p:spPr>
          <a:xfrm>
            <a:off x="1714327" y="2314575"/>
            <a:ext cx="2305396" cy="22685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39" name="Shape 139"/>
          <p:cNvSpPr>
            <a:spLocks noGrp="1"/>
          </p:cNvSpPr>
          <p:nvPr>
            <p:ph type="pic" sz="quarter" idx="15"/>
          </p:nvPr>
        </p:nvSpPr>
        <p:spPr>
          <a:xfrm>
            <a:off x="8172277" y="3243264"/>
            <a:ext cx="2305397" cy="22685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40" name="Shape 140"/>
          <p:cNvSpPr>
            <a:spLocks noGrp="1"/>
          </p:cNvSpPr>
          <p:nvPr>
            <p:ph type="pic" sz="quarter" idx="16"/>
          </p:nvPr>
        </p:nvSpPr>
        <p:spPr>
          <a:xfrm>
            <a:off x="6019627" y="2314575"/>
            <a:ext cx="2305396" cy="226851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41" name="Shape 141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95629921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/>
          </p:cNvSpPr>
          <p:nvPr>
            <p:ph type="pic" sz="quarter" idx="13"/>
          </p:nvPr>
        </p:nvSpPr>
        <p:spPr>
          <a:xfrm>
            <a:off x="4398865" y="1201003"/>
            <a:ext cx="3343294" cy="46210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49" name="Shape 149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495307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Shape 156"/>
          <p:cNvSpPr>
            <a:spLocks noGrp="1"/>
          </p:cNvSpPr>
          <p:nvPr>
            <p:ph type="pic" idx="13"/>
          </p:nvPr>
        </p:nvSpPr>
        <p:spPr>
          <a:xfrm>
            <a:off x="-1" y="2"/>
            <a:ext cx="6015431" cy="6023924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57" name="Shape 157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0063734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Shape 164"/>
          <p:cNvSpPr>
            <a:spLocks noGrp="1"/>
          </p:cNvSpPr>
          <p:nvPr>
            <p:ph type="pic" sz="half" idx="13"/>
          </p:nvPr>
        </p:nvSpPr>
        <p:spPr>
          <a:xfrm>
            <a:off x="-1" y="0"/>
            <a:ext cx="7151429" cy="34445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65" name="Shape 165"/>
          <p:cNvSpPr>
            <a:spLocks noGrp="1"/>
          </p:cNvSpPr>
          <p:nvPr>
            <p:ph type="pic" sz="half" idx="14"/>
          </p:nvPr>
        </p:nvSpPr>
        <p:spPr>
          <a:xfrm>
            <a:off x="5126723" y="3444499"/>
            <a:ext cx="7065276" cy="341350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66" name="Shape 166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6656969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Shape 173"/>
          <p:cNvSpPr>
            <a:spLocks noGrp="1"/>
          </p:cNvSpPr>
          <p:nvPr>
            <p:ph type="pic" sz="half" idx="13"/>
          </p:nvPr>
        </p:nvSpPr>
        <p:spPr>
          <a:xfrm>
            <a:off x="887784" y="1105950"/>
            <a:ext cx="4935714" cy="470068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74" name="Shape 174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5325403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Shape 181"/>
          <p:cNvSpPr>
            <a:spLocks noGrp="1"/>
          </p:cNvSpPr>
          <p:nvPr>
            <p:ph type="pic" sz="half" idx="13"/>
          </p:nvPr>
        </p:nvSpPr>
        <p:spPr>
          <a:xfrm>
            <a:off x="737088" y="973184"/>
            <a:ext cx="4911635" cy="4911635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82" name="Shape 182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8946056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/>
          </p:cNvSpPr>
          <p:nvPr>
            <p:ph type="pic" idx="13"/>
          </p:nvPr>
        </p:nvSpPr>
        <p:spPr>
          <a:xfrm>
            <a:off x="-1" y="-7787"/>
            <a:ext cx="5618924" cy="6865788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90" name="Shape 190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35292052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Shape 197"/>
          <p:cNvSpPr>
            <a:spLocks noGrp="1"/>
          </p:cNvSpPr>
          <p:nvPr>
            <p:ph type="pic" sz="half" idx="13"/>
          </p:nvPr>
        </p:nvSpPr>
        <p:spPr>
          <a:xfrm>
            <a:off x="442914" y="328613"/>
            <a:ext cx="4614861" cy="6229351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198" name="Shape 198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00098566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Shape 205"/>
          <p:cNvSpPr>
            <a:spLocks noGrp="1"/>
          </p:cNvSpPr>
          <p:nvPr>
            <p:ph type="pic" idx="13"/>
          </p:nvPr>
        </p:nvSpPr>
        <p:spPr>
          <a:xfrm>
            <a:off x="0" y="0"/>
            <a:ext cx="5247863" cy="68580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06" name="Shape 206"/>
          <p:cNvSpPr>
            <a:spLocks noGrp="1"/>
          </p:cNvSpPr>
          <p:nvPr>
            <p:ph type="pic" sz="quarter" idx="14"/>
          </p:nvPr>
        </p:nvSpPr>
        <p:spPr>
          <a:xfrm>
            <a:off x="757526" y="1314846"/>
            <a:ext cx="3732807" cy="4228312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07" name="Shape 207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1120177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Shape 214"/>
          <p:cNvSpPr>
            <a:spLocks noGrp="1"/>
          </p:cNvSpPr>
          <p:nvPr>
            <p:ph type="pic" idx="13"/>
          </p:nvPr>
        </p:nvSpPr>
        <p:spPr>
          <a:xfrm>
            <a:off x="0" y="0"/>
            <a:ext cx="12192000" cy="3578089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215" name="Shape 215"/>
          <p:cNvSpPr>
            <a:spLocks noGrp="1"/>
          </p:cNvSpPr>
          <p:nvPr>
            <p:ph type="sldNum" sz="quarter" idx="2"/>
          </p:nvPr>
        </p:nvSpPr>
        <p:spPr>
          <a:xfrm>
            <a:off x="5892800" y="6172200"/>
            <a:ext cx="2844800" cy="368301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4202945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theme" Target="../theme/theme1.xml"/><Relationship Id="rId8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94.xml"/><Relationship Id="rId21" Type="http://schemas.openxmlformats.org/officeDocument/2006/relationships/slideLayout" Target="../slideLayouts/slideLayout98.xml"/><Relationship Id="rId42" Type="http://schemas.openxmlformats.org/officeDocument/2006/relationships/slideLayout" Target="../slideLayouts/slideLayout119.xml"/><Relationship Id="rId63" Type="http://schemas.openxmlformats.org/officeDocument/2006/relationships/slideLayout" Target="../slideLayouts/slideLayout140.xml"/><Relationship Id="rId84" Type="http://schemas.openxmlformats.org/officeDocument/2006/relationships/slideLayout" Target="../slideLayouts/slideLayout161.xml"/><Relationship Id="rId138" Type="http://schemas.openxmlformats.org/officeDocument/2006/relationships/slideLayout" Target="../slideLayouts/slideLayout215.xml"/><Relationship Id="rId107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109.xml"/><Relationship Id="rId37" Type="http://schemas.openxmlformats.org/officeDocument/2006/relationships/slideLayout" Target="../slideLayouts/slideLayout114.xml"/><Relationship Id="rId53" Type="http://schemas.openxmlformats.org/officeDocument/2006/relationships/slideLayout" Target="../slideLayouts/slideLayout130.xml"/><Relationship Id="rId58" Type="http://schemas.openxmlformats.org/officeDocument/2006/relationships/slideLayout" Target="../slideLayouts/slideLayout135.xml"/><Relationship Id="rId74" Type="http://schemas.openxmlformats.org/officeDocument/2006/relationships/slideLayout" Target="../slideLayouts/slideLayout151.xml"/><Relationship Id="rId79" Type="http://schemas.openxmlformats.org/officeDocument/2006/relationships/slideLayout" Target="../slideLayouts/slideLayout156.xml"/><Relationship Id="rId102" Type="http://schemas.openxmlformats.org/officeDocument/2006/relationships/slideLayout" Target="../slideLayouts/slideLayout179.xml"/><Relationship Id="rId123" Type="http://schemas.openxmlformats.org/officeDocument/2006/relationships/slideLayout" Target="../slideLayouts/slideLayout200.xml"/><Relationship Id="rId128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82.xml"/><Relationship Id="rId90" Type="http://schemas.openxmlformats.org/officeDocument/2006/relationships/slideLayout" Target="../slideLayouts/slideLayout167.xml"/><Relationship Id="rId95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43" Type="http://schemas.openxmlformats.org/officeDocument/2006/relationships/slideLayout" Target="../slideLayouts/slideLayout120.xml"/><Relationship Id="rId48" Type="http://schemas.openxmlformats.org/officeDocument/2006/relationships/slideLayout" Target="../slideLayouts/slideLayout125.xml"/><Relationship Id="rId64" Type="http://schemas.openxmlformats.org/officeDocument/2006/relationships/slideLayout" Target="../slideLayouts/slideLayout141.xml"/><Relationship Id="rId69" Type="http://schemas.openxmlformats.org/officeDocument/2006/relationships/slideLayout" Target="../slideLayouts/slideLayout146.xml"/><Relationship Id="rId113" Type="http://schemas.openxmlformats.org/officeDocument/2006/relationships/slideLayout" Target="../slideLayouts/slideLayout190.xml"/><Relationship Id="rId118" Type="http://schemas.openxmlformats.org/officeDocument/2006/relationships/slideLayout" Target="../slideLayouts/slideLayout195.xml"/><Relationship Id="rId134" Type="http://schemas.openxmlformats.org/officeDocument/2006/relationships/slideLayout" Target="../slideLayouts/slideLayout211.xml"/><Relationship Id="rId139" Type="http://schemas.openxmlformats.org/officeDocument/2006/relationships/slideLayout" Target="../slideLayouts/slideLayout216.xml"/><Relationship Id="rId80" Type="http://schemas.openxmlformats.org/officeDocument/2006/relationships/slideLayout" Target="../slideLayouts/slideLayout157.xml"/><Relationship Id="rId85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33" Type="http://schemas.openxmlformats.org/officeDocument/2006/relationships/slideLayout" Target="../slideLayouts/slideLayout110.xml"/><Relationship Id="rId38" Type="http://schemas.openxmlformats.org/officeDocument/2006/relationships/slideLayout" Target="../slideLayouts/slideLayout115.xml"/><Relationship Id="rId59" Type="http://schemas.openxmlformats.org/officeDocument/2006/relationships/slideLayout" Target="../slideLayouts/slideLayout136.xml"/><Relationship Id="rId103" Type="http://schemas.openxmlformats.org/officeDocument/2006/relationships/slideLayout" Target="../slideLayouts/slideLayout180.xml"/><Relationship Id="rId108" Type="http://schemas.openxmlformats.org/officeDocument/2006/relationships/slideLayout" Target="../slideLayouts/slideLayout185.xml"/><Relationship Id="rId124" Type="http://schemas.openxmlformats.org/officeDocument/2006/relationships/slideLayout" Target="../slideLayouts/slideLayout201.xml"/><Relationship Id="rId129" Type="http://schemas.openxmlformats.org/officeDocument/2006/relationships/slideLayout" Target="../slideLayouts/slideLayout206.xml"/><Relationship Id="rId54" Type="http://schemas.openxmlformats.org/officeDocument/2006/relationships/slideLayout" Target="../slideLayouts/slideLayout131.xml"/><Relationship Id="rId70" Type="http://schemas.openxmlformats.org/officeDocument/2006/relationships/slideLayout" Target="../slideLayouts/slideLayout147.xml"/><Relationship Id="rId75" Type="http://schemas.openxmlformats.org/officeDocument/2006/relationships/slideLayout" Target="../slideLayouts/slideLayout152.xml"/><Relationship Id="rId91" Type="http://schemas.openxmlformats.org/officeDocument/2006/relationships/slideLayout" Target="../slideLayouts/slideLayout168.xml"/><Relationship Id="rId96" Type="http://schemas.openxmlformats.org/officeDocument/2006/relationships/slideLayout" Target="../slideLayouts/slideLayout173.xml"/><Relationship Id="rId140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49" Type="http://schemas.openxmlformats.org/officeDocument/2006/relationships/slideLayout" Target="../slideLayouts/slideLayout126.xml"/><Relationship Id="rId114" Type="http://schemas.openxmlformats.org/officeDocument/2006/relationships/slideLayout" Target="../slideLayouts/slideLayout191.xml"/><Relationship Id="rId119" Type="http://schemas.openxmlformats.org/officeDocument/2006/relationships/slideLayout" Target="../slideLayouts/slideLayout196.xml"/><Relationship Id="rId44" Type="http://schemas.openxmlformats.org/officeDocument/2006/relationships/slideLayout" Target="../slideLayouts/slideLayout121.xml"/><Relationship Id="rId60" Type="http://schemas.openxmlformats.org/officeDocument/2006/relationships/slideLayout" Target="../slideLayouts/slideLayout137.xml"/><Relationship Id="rId65" Type="http://schemas.openxmlformats.org/officeDocument/2006/relationships/slideLayout" Target="../slideLayouts/slideLayout142.xml"/><Relationship Id="rId81" Type="http://schemas.openxmlformats.org/officeDocument/2006/relationships/slideLayout" Target="../slideLayouts/slideLayout158.xml"/><Relationship Id="rId86" Type="http://schemas.openxmlformats.org/officeDocument/2006/relationships/slideLayout" Target="../slideLayouts/slideLayout163.xml"/><Relationship Id="rId130" Type="http://schemas.openxmlformats.org/officeDocument/2006/relationships/slideLayout" Target="../slideLayouts/slideLayout207.xml"/><Relationship Id="rId135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39" Type="http://schemas.openxmlformats.org/officeDocument/2006/relationships/slideLayout" Target="../slideLayouts/slideLayout116.xml"/><Relationship Id="rId109" Type="http://schemas.openxmlformats.org/officeDocument/2006/relationships/slideLayout" Target="../slideLayouts/slideLayout186.xml"/><Relationship Id="rId34" Type="http://schemas.openxmlformats.org/officeDocument/2006/relationships/slideLayout" Target="../slideLayouts/slideLayout111.xml"/><Relationship Id="rId50" Type="http://schemas.openxmlformats.org/officeDocument/2006/relationships/slideLayout" Target="../slideLayouts/slideLayout127.xml"/><Relationship Id="rId55" Type="http://schemas.openxmlformats.org/officeDocument/2006/relationships/slideLayout" Target="../slideLayouts/slideLayout132.xml"/><Relationship Id="rId76" Type="http://schemas.openxmlformats.org/officeDocument/2006/relationships/slideLayout" Target="../slideLayouts/slideLayout153.xml"/><Relationship Id="rId97" Type="http://schemas.openxmlformats.org/officeDocument/2006/relationships/slideLayout" Target="../slideLayouts/slideLayout174.xml"/><Relationship Id="rId104" Type="http://schemas.openxmlformats.org/officeDocument/2006/relationships/slideLayout" Target="../slideLayouts/slideLayout181.xml"/><Relationship Id="rId120" Type="http://schemas.openxmlformats.org/officeDocument/2006/relationships/slideLayout" Target="../slideLayouts/slideLayout197.xml"/><Relationship Id="rId125" Type="http://schemas.openxmlformats.org/officeDocument/2006/relationships/slideLayout" Target="../slideLayouts/slideLayout202.xml"/><Relationship Id="rId141" Type="http://schemas.openxmlformats.org/officeDocument/2006/relationships/theme" Target="../theme/theme2.xml"/><Relationship Id="rId7" Type="http://schemas.openxmlformats.org/officeDocument/2006/relationships/slideLayout" Target="../slideLayouts/slideLayout84.xml"/><Relationship Id="rId71" Type="http://schemas.openxmlformats.org/officeDocument/2006/relationships/slideLayout" Target="../slideLayouts/slideLayout148.xml"/><Relationship Id="rId92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01.xml"/><Relationship Id="rId40" Type="http://schemas.openxmlformats.org/officeDocument/2006/relationships/slideLayout" Target="../slideLayouts/slideLayout117.xml"/><Relationship Id="rId45" Type="http://schemas.openxmlformats.org/officeDocument/2006/relationships/slideLayout" Target="../slideLayouts/slideLayout122.xml"/><Relationship Id="rId66" Type="http://schemas.openxmlformats.org/officeDocument/2006/relationships/slideLayout" Target="../slideLayouts/slideLayout143.xml"/><Relationship Id="rId87" Type="http://schemas.openxmlformats.org/officeDocument/2006/relationships/slideLayout" Target="../slideLayouts/slideLayout164.xml"/><Relationship Id="rId110" Type="http://schemas.openxmlformats.org/officeDocument/2006/relationships/slideLayout" Target="../slideLayouts/slideLayout187.xml"/><Relationship Id="rId115" Type="http://schemas.openxmlformats.org/officeDocument/2006/relationships/slideLayout" Target="../slideLayouts/slideLayout192.xml"/><Relationship Id="rId131" Type="http://schemas.openxmlformats.org/officeDocument/2006/relationships/slideLayout" Target="../slideLayouts/slideLayout208.xml"/><Relationship Id="rId136" Type="http://schemas.openxmlformats.org/officeDocument/2006/relationships/slideLayout" Target="../slideLayouts/slideLayout213.xml"/><Relationship Id="rId61" Type="http://schemas.openxmlformats.org/officeDocument/2006/relationships/slideLayout" Target="../slideLayouts/slideLayout138.xml"/><Relationship Id="rId82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107.xml"/><Relationship Id="rId35" Type="http://schemas.openxmlformats.org/officeDocument/2006/relationships/slideLayout" Target="../slideLayouts/slideLayout112.xml"/><Relationship Id="rId56" Type="http://schemas.openxmlformats.org/officeDocument/2006/relationships/slideLayout" Target="../slideLayouts/slideLayout133.xml"/><Relationship Id="rId77" Type="http://schemas.openxmlformats.org/officeDocument/2006/relationships/slideLayout" Target="../slideLayouts/slideLayout154.xml"/><Relationship Id="rId100" Type="http://schemas.openxmlformats.org/officeDocument/2006/relationships/slideLayout" Target="../slideLayouts/slideLayout177.xml"/><Relationship Id="rId105" Type="http://schemas.openxmlformats.org/officeDocument/2006/relationships/slideLayout" Target="../slideLayouts/slideLayout182.xml"/><Relationship Id="rId126" Type="http://schemas.openxmlformats.org/officeDocument/2006/relationships/slideLayout" Target="../slideLayouts/slideLayout203.xml"/><Relationship Id="rId8" Type="http://schemas.openxmlformats.org/officeDocument/2006/relationships/slideLayout" Target="../slideLayouts/slideLayout85.xml"/><Relationship Id="rId51" Type="http://schemas.openxmlformats.org/officeDocument/2006/relationships/slideLayout" Target="../slideLayouts/slideLayout128.xml"/><Relationship Id="rId72" Type="http://schemas.openxmlformats.org/officeDocument/2006/relationships/slideLayout" Target="../slideLayouts/slideLayout149.xml"/><Relationship Id="rId93" Type="http://schemas.openxmlformats.org/officeDocument/2006/relationships/slideLayout" Target="../slideLayouts/slideLayout170.xml"/><Relationship Id="rId98" Type="http://schemas.openxmlformats.org/officeDocument/2006/relationships/slideLayout" Target="../slideLayouts/slideLayout175.xml"/><Relationship Id="rId121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102.xml"/><Relationship Id="rId46" Type="http://schemas.openxmlformats.org/officeDocument/2006/relationships/slideLayout" Target="../slideLayouts/slideLayout123.xml"/><Relationship Id="rId67" Type="http://schemas.openxmlformats.org/officeDocument/2006/relationships/slideLayout" Target="../slideLayouts/slideLayout144.xml"/><Relationship Id="rId116" Type="http://schemas.openxmlformats.org/officeDocument/2006/relationships/slideLayout" Target="../slideLayouts/slideLayout193.xml"/><Relationship Id="rId137" Type="http://schemas.openxmlformats.org/officeDocument/2006/relationships/slideLayout" Target="../slideLayouts/slideLayout214.xml"/><Relationship Id="rId20" Type="http://schemas.openxmlformats.org/officeDocument/2006/relationships/slideLayout" Target="../slideLayouts/slideLayout97.xml"/><Relationship Id="rId41" Type="http://schemas.openxmlformats.org/officeDocument/2006/relationships/slideLayout" Target="../slideLayouts/slideLayout118.xml"/><Relationship Id="rId62" Type="http://schemas.openxmlformats.org/officeDocument/2006/relationships/slideLayout" Target="../slideLayouts/slideLayout139.xml"/><Relationship Id="rId83" Type="http://schemas.openxmlformats.org/officeDocument/2006/relationships/slideLayout" Target="../slideLayouts/slideLayout160.xml"/><Relationship Id="rId88" Type="http://schemas.openxmlformats.org/officeDocument/2006/relationships/slideLayout" Target="../slideLayouts/slideLayout165.xml"/><Relationship Id="rId111" Type="http://schemas.openxmlformats.org/officeDocument/2006/relationships/slideLayout" Target="../slideLayouts/slideLayout188.xml"/><Relationship Id="rId132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13.xml"/><Relationship Id="rId57" Type="http://schemas.openxmlformats.org/officeDocument/2006/relationships/slideLayout" Target="../slideLayouts/slideLayout134.xml"/><Relationship Id="rId106" Type="http://schemas.openxmlformats.org/officeDocument/2006/relationships/slideLayout" Target="../slideLayouts/slideLayout183.xml"/><Relationship Id="rId127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87.xml"/><Relationship Id="rId31" Type="http://schemas.openxmlformats.org/officeDocument/2006/relationships/slideLayout" Target="../slideLayouts/slideLayout108.xml"/><Relationship Id="rId52" Type="http://schemas.openxmlformats.org/officeDocument/2006/relationships/slideLayout" Target="../slideLayouts/slideLayout129.xml"/><Relationship Id="rId73" Type="http://schemas.openxmlformats.org/officeDocument/2006/relationships/slideLayout" Target="../slideLayouts/slideLayout150.xml"/><Relationship Id="rId78" Type="http://schemas.openxmlformats.org/officeDocument/2006/relationships/slideLayout" Target="../slideLayouts/slideLayout155.xml"/><Relationship Id="rId94" Type="http://schemas.openxmlformats.org/officeDocument/2006/relationships/slideLayout" Target="../slideLayouts/slideLayout171.xml"/><Relationship Id="rId99" Type="http://schemas.openxmlformats.org/officeDocument/2006/relationships/slideLayout" Target="../slideLayouts/slideLayout176.xml"/><Relationship Id="rId101" Type="http://schemas.openxmlformats.org/officeDocument/2006/relationships/slideLayout" Target="../slideLayouts/slideLayout178.xml"/><Relationship Id="rId122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26" Type="http://schemas.openxmlformats.org/officeDocument/2006/relationships/slideLayout" Target="../slideLayouts/slideLayout103.xml"/><Relationship Id="rId47" Type="http://schemas.openxmlformats.org/officeDocument/2006/relationships/slideLayout" Target="../slideLayouts/slideLayout124.xml"/><Relationship Id="rId68" Type="http://schemas.openxmlformats.org/officeDocument/2006/relationships/slideLayout" Target="../slideLayouts/slideLayout145.xml"/><Relationship Id="rId89" Type="http://schemas.openxmlformats.org/officeDocument/2006/relationships/slideLayout" Target="../slideLayouts/slideLayout166.xml"/><Relationship Id="rId112" Type="http://schemas.openxmlformats.org/officeDocument/2006/relationships/slideLayout" Target="../slideLayouts/slideLayout189.xml"/><Relationship Id="rId133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9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43.xml"/><Relationship Id="rId21" Type="http://schemas.openxmlformats.org/officeDocument/2006/relationships/slideLayout" Target="../slideLayouts/slideLayout238.xml"/><Relationship Id="rId42" Type="http://schemas.openxmlformats.org/officeDocument/2006/relationships/slideLayout" Target="../slideLayouts/slideLayout259.xml"/><Relationship Id="rId47" Type="http://schemas.openxmlformats.org/officeDocument/2006/relationships/slideLayout" Target="../slideLayouts/slideLayout264.xml"/><Relationship Id="rId63" Type="http://schemas.openxmlformats.org/officeDocument/2006/relationships/slideLayout" Target="../slideLayouts/slideLayout280.xml"/><Relationship Id="rId68" Type="http://schemas.openxmlformats.org/officeDocument/2006/relationships/slideLayout" Target="../slideLayouts/slideLayout285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slideLayout" Target="../slideLayouts/slideLayout249.xml"/><Relationship Id="rId37" Type="http://schemas.openxmlformats.org/officeDocument/2006/relationships/slideLayout" Target="../slideLayouts/slideLayout254.xml"/><Relationship Id="rId40" Type="http://schemas.openxmlformats.org/officeDocument/2006/relationships/slideLayout" Target="../slideLayouts/slideLayout257.xml"/><Relationship Id="rId45" Type="http://schemas.openxmlformats.org/officeDocument/2006/relationships/slideLayout" Target="../slideLayouts/slideLayout262.xml"/><Relationship Id="rId53" Type="http://schemas.openxmlformats.org/officeDocument/2006/relationships/slideLayout" Target="../slideLayouts/slideLayout270.xml"/><Relationship Id="rId58" Type="http://schemas.openxmlformats.org/officeDocument/2006/relationships/slideLayout" Target="../slideLayouts/slideLayout275.xml"/><Relationship Id="rId66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22.xml"/><Relationship Id="rId61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3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slideLayout" Target="../slideLayouts/slideLayout244.xml"/><Relationship Id="rId30" Type="http://schemas.openxmlformats.org/officeDocument/2006/relationships/slideLayout" Target="../slideLayouts/slideLayout247.xml"/><Relationship Id="rId35" Type="http://schemas.openxmlformats.org/officeDocument/2006/relationships/slideLayout" Target="../slideLayouts/slideLayout252.xml"/><Relationship Id="rId43" Type="http://schemas.openxmlformats.org/officeDocument/2006/relationships/slideLayout" Target="../slideLayouts/slideLayout260.xml"/><Relationship Id="rId48" Type="http://schemas.openxmlformats.org/officeDocument/2006/relationships/slideLayout" Target="../slideLayouts/slideLayout265.xml"/><Relationship Id="rId56" Type="http://schemas.openxmlformats.org/officeDocument/2006/relationships/slideLayout" Target="../slideLayouts/slideLayout273.xml"/><Relationship Id="rId64" Type="http://schemas.openxmlformats.org/officeDocument/2006/relationships/slideLayout" Target="../slideLayouts/slideLayout281.xml"/><Relationship Id="rId69" Type="http://schemas.openxmlformats.org/officeDocument/2006/relationships/theme" Target="../theme/theme3.xml"/><Relationship Id="rId8" Type="http://schemas.openxmlformats.org/officeDocument/2006/relationships/slideLayout" Target="../slideLayouts/slideLayout225.xml"/><Relationship Id="rId51" Type="http://schemas.openxmlformats.org/officeDocument/2006/relationships/slideLayout" Target="../slideLayouts/slideLayout268.xml"/><Relationship Id="rId72" Type="http://schemas.openxmlformats.org/officeDocument/2006/relationships/oleObject" Target="../embeddings/oleObject42.bin"/><Relationship Id="rId3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slideLayout" Target="../slideLayouts/slideLayout242.xml"/><Relationship Id="rId33" Type="http://schemas.openxmlformats.org/officeDocument/2006/relationships/slideLayout" Target="../slideLayouts/slideLayout250.xml"/><Relationship Id="rId38" Type="http://schemas.openxmlformats.org/officeDocument/2006/relationships/slideLayout" Target="../slideLayouts/slideLayout255.xml"/><Relationship Id="rId46" Type="http://schemas.openxmlformats.org/officeDocument/2006/relationships/slideLayout" Target="../slideLayouts/slideLayout263.xml"/><Relationship Id="rId59" Type="http://schemas.openxmlformats.org/officeDocument/2006/relationships/slideLayout" Target="../slideLayouts/slideLayout276.xml"/><Relationship Id="rId67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37.xml"/><Relationship Id="rId41" Type="http://schemas.openxmlformats.org/officeDocument/2006/relationships/slideLayout" Target="../slideLayouts/slideLayout258.xml"/><Relationship Id="rId54" Type="http://schemas.openxmlformats.org/officeDocument/2006/relationships/slideLayout" Target="../slideLayouts/slideLayout271.xml"/><Relationship Id="rId62" Type="http://schemas.openxmlformats.org/officeDocument/2006/relationships/slideLayout" Target="../slideLayouts/slideLayout279.xml"/><Relationship Id="rId70" Type="http://schemas.openxmlformats.org/officeDocument/2006/relationships/tags" Target="../tags/tag91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slideLayout" Target="../slideLayouts/slideLayout245.xml"/><Relationship Id="rId36" Type="http://schemas.openxmlformats.org/officeDocument/2006/relationships/slideLayout" Target="../slideLayouts/slideLayout253.xml"/><Relationship Id="rId49" Type="http://schemas.openxmlformats.org/officeDocument/2006/relationships/slideLayout" Target="../slideLayouts/slideLayout266.xml"/><Relationship Id="rId57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27.xml"/><Relationship Id="rId31" Type="http://schemas.openxmlformats.org/officeDocument/2006/relationships/slideLayout" Target="../slideLayouts/slideLayout248.xml"/><Relationship Id="rId44" Type="http://schemas.openxmlformats.org/officeDocument/2006/relationships/slideLayout" Target="../slideLayouts/slideLayout261.xml"/><Relationship Id="rId52" Type="http://schemas.openxmlformats.org/officeDocument/2006/relationships/slideLayout" Target="../slideLayouts/slideLayout269.xml"/><Relationship Id="rId60" Type="http://schemas.openxmlformats.org/officeDocument/2006/relationships/slideLayout" Target="../slideLayouts/slideLayout277.xml"/><Relationship Id="rId65" Type="http://schemas.openxmlformats.org/officeDocument/2006/relationships/slideLayout" Target="../slideLayouts/slideLayout282.xml"/><Relationship Id="rId73" Type="http://schemas.openxmlformats.org/officeDocument/2006/relationships/image" Target="../media/image1.emf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39" Type="http://schemas.openxmlformats.org/officeDocument/2006/relationships/slideLayout" Target="../slideLayouts/slideLayout256.xml"/><Relationship Id="rId34" Type="http://schemas.openxmlformats.org/officeDocument/2006/relationships/slideLayout" Target="../slideLayouts/slideLayout251.xml"/><Relationship Id="rId50" Type="http://schemas.openxmlformats.org/officeDocument/2006/relationships/slideLayout" Target="../slideLayouts/slideLayout267.xml"/><Relationship Id="rId55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24.xml"/><Relationship Id="rId71" Type="http://schemas.openxmlformats.org/officeDocument/2006/relationships/tags" Target="../tags/tag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9"/>
            </p:custDataLst>
          </p:nvPr>
        </p:nvGraphicFramePr>
        <p:xfrm>
          <a:off x="2122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1" imgW="270" imgH="270" progId="TCLayout.ActiveDocument.1">
                  <p:embed/>
                </p:oleObj>
              </mc:Choice>
              <mc:Fallback>
                <p:oleObj name="think-cell Slide" r:id="rId8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2122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8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102" y="507999"/>
            <a:ext cx="10031916" cy="9313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A5D2E64-2649-4557-8200-E78DF2A57EFC}"/>
              </a:ext>
            </a:extLst>
          </p:cNvPr>
          <p:cNvPicPr>
            <a:picLocks noChangeAspect="1"/>
          </p:cNvPicPr>
          <p:nvPr userDrawn="1"/>
        </p:nvPicPr>
        <p:blipFill>
          <a:blip r:embed="rId8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1017" y="288001"/>
            <a:ext cx="480000" cy="609729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3102" y="6512606"/>
            <a:ext cx="958356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rgbClr val="000000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97425" y="6512606"/>
            <a:ext cx="5213535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42827" y="6485813"/>
            <a:ext cx="266631" cy="2002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3101" y="1623484"/>
            <a:ext cx="10847919" cy="4614333"/>
          </a:xfrm>
          <a:prstGeom prst="rect">
            <a:avLst/>
          </a:prstGeom>
        </p:spPr>
        <p:txBody>
          <a:bodyPr vert="horz" lIns="0" tIns="0" rIns="0" bIns="0" spcCol="324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7593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28" r:id="rId68"/>
    <p:sldLayoutId id="2147483729" r:id="rId69"/>
    <p:sldLayoutId id="2147483730" r:id="rId70"/>
    <p:sldLayoutId id="2147483731" r:id="rId71"/>
    <p:sldLayoutId id="2147483732" r:id="rId72"/>
    <p:sldLayoutId id="2147483733" r:id="rId73"/>
    <p:sldLayoutId id="2147483734" r:id="rId74"/>
    <p:sldLayoutId id="2147483735" r:id="rId75"/>
    <p:sldLayoutId id="2147483736" r:id="rId76"/>
    <p:sldLayoutId id="2147483739" r:id="rId77"/>
  </p:sldLayoutIdLst>
  <p:hf hdr="0"/>
  <p:txStyles>
    <p:titleStyle>
      <a:lvl1pPr algn="l" defTabSz="1219139" rtl="0" eaLnBrk="1" latinLnBrk="0" hangingPunct="1">
        <a:lnSpc>
          <a:spcPct val="100000"/>
        </a:lnSpc>
        <a:spcBef>
          <a:spcPct val="0"/>
        </a:spcBef>
        <a:buNone/>
        <a:defRPr lang="en-US" sz="32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895" indent="-21589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867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26709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73010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US" sz="1333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92460" indent="-182875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333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935543" indent="-143930" algn="l" defTabSz="1219139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333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39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3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3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7">
          <p15:clr>
            <a:srgbClr val="000000"/>
          </p15:clr>
        </p15:guide>
        <p15:guide id="2" pos="5443">
          <p15:clr>
            <a:srgbClr val="000000"/>
          </p15:clr>
        </p15:guide>
        <p15:guide id="3" pos="5057">
          <p15:clr>
            <a:srgbClr val="000000"/>
          </p15:clr>
        </p15:guide>
        <p15:guide id="4" orient="horz" pos="237">
          <p15:clr>
            <a:srgbClr val="000000"/>
          </p15:clr>
        </p15:guide>
        <p15:guide id="5" orient="horz" pos="690">
          <p15:clr>
            <a:srgbClr val="000000"/>
          </p15:clr>
        </p15:guide>
        <p15:guide id="6" orient="horz" pos="758">
          <p15:clr>
            <a:srgbClr val="000000"/>
          </p15:clr>
        </p15:guide>
        <p15:guide id="7" orient="horz" pos="2958">
          <p15:clr>
            <a:srgbClr val="000000"/>
          </p15:clr>
        </p15:guide>
        <p15:guide id="8" pos="3039">
          <p15:clr>
            <a:srgbClr val="000000"/>
          </p15:clr>
        </p15:guide>
        <p15:guide id="10" pos="2880">
          <p15:clr>
            <a:srgbClr val="000000"/>
          </p15:clr>
        </p15:guide>
        <p15:guide id="11" pos="2721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609600" y="92074"/>
            <a:ext cx="109728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202289" y="372601"/>
            <a:ext cx="287783" cy="29464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ctr">
              <a:defRPr sz="13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0687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8" r:id="rId24"/>
    <p:sldLayoutId id="2147483769" r:id="rId25"/>
    <p:sldLayoutId id="2147483770" r:id="rId26"/>
    <p:sldLayoutId id="2147483771" r:id="rId27"/>
    <p:sldLayoutId id="2147483772" r:id="rId28"/>
    <p:sldLayoutId id="2147483773" r:id="rId29"/>
    <p:sldLayoutId id="2147483774" r:id="rId30"/>
    <p:sldLayoutId id="2147483775" r:id="rId31"/>
    <p:sldLayoutId id="2147483776" r:id="rId32"/>
    <p:sldLayoutId id="2147483777" r:id="rId33"/>
    <p:sldLayoutId id="2147483778" r:id="rId34"/>
    <p:sldLayoutId id="2147483779" r:id="rId35"/>
    <p:sldLayoutId id="2147483780" r:id="rId36"/>
    <p:sldLayoutId id="2147483781" r:id="rId37"/>
    <p:sldLayoutId id="2147483782" r:id="rId38"/>
    <p:sldLayoutId id="2147483783" r:id="rId39"/>
    <p:sldLayoutId id="2147483784" r:id="rId40"/>
    <p:sldLayoutId id="2147483785" r:id="rId41"/>
    <p:sldLayoutId id="2147483786" r:id="rId42"/>
    <p:sldLayoutId id="2147483787" r:id="rId43"/>
    <p:sldLayoutId id="2147483788" r:id="rId44"/>
    <p:sldLayoutId id="2147483789" r:id="rId45"/>
    <p:sldLayoutId id="2147483790" r:id="rId46"/>
    <p:sldLayoutId id="2147483791" r:id="rId47"/>
    <p:sldLayoutId id="2147483792" r:id="rId48"/>
    <p:sldLayoutId id="2147483793" r:id="rId49"/>
    <p:sldLayoutId id="2147483794" r:id="rId50"/>
    <p:sldLayoutId id="2147483795" r:id="rId51"/>
    <p:sldLayoutId id="2147483796" r:id="rId52"/>
    <p:sldLayoutId id="2147483797" r:id="rId53"/>
    <p:sldLayoutId id="2147483798" r:id="rId54"/>
    <p:sldLayoutId id="2147483799" r:id="rId55"/>
    <p:sldLayoutId id="2147483800" r:id="rId56"/>
    <p:sldLayoutId id="2147483801" r:id="rId57"/>
    <p:sldLayoutId id="2147483802" r:id="rId58"/>
    <p:sldLayoutId id="2147483803" r:id="rId59"/>
    <p:sldLayoutId id="2147483804" r:id="rId60"/>
    <p:sldLayoutId id="2147483805" r:id="rId61"/>
    <p:sldLayoutId id="2147483806" r:id="rId62"/>
    <p:sldLayoutId id="2147483807" r:id="rId63"/>
    <p:sldLayoutId id="2147483808" r:id="rId64"/>
    <p:sldLayoutId id="2147483809" r:id="rId65"/>
    <p:sldLayoutId id="2147483810" r:id="rId66"/>
    <p:sldLayoutId id="2147483811" r:id="rId67"/>
    <p:sldLayoutId id="2147483812" r:id="rId68"/>
    <p:sldLayoutId id="2147483813" r:id="rId69"/>
    <p:sldLayoutId id="2147483814" r:id="rId70"/>
    <p:sldLayoutId id="2147483815" r:id="rId71"/>
    <p:sldLayoutId id="2147483816" r:id="rId72"/>
    <p:sldLayoutId id="2147483817" r:id="rId73"/>
    <p:sldLayoutId id="2147483818" r:id="rId74"/>
    <p:sldLayoutId id="2147483819" r:id="rId75"/>
    <p:sldLayoutId id="2147483820" r:id="rId76"/>
    <p:sldLayoutId id="2147483821" r:id="rId77"/>
    <p:sldLayoutId id="2147483822" r:id="rId78"/>
    <p:sldLayoutId id="2147483823" r:id="rId79"/>
    <p:sldLayoutId id="2147483824" r:id="rId80"/>
    <p:sldLayoutId id="2147483825" r:id="rId81"/>
    <p:sldLayoutId id="2147483826" r:id="rId82"/>
    <p:sldLayoutId id="2147483827" r:id="rId83"/>
    <p:sldLayoutId id="2147483828" r:id="rId84"/>
    <p:sldLayoutId id="2147483829" r:id="rId85"/>
    <p:sldLayoutId id="2147483830" r:id="rId86"/>
    <p:sldLayoutId id="2147483831" r:id="rId87"/>
    <p:sldLayoutId id="2147483832" r:id="rId88"/>
    <p:sldLayoutId id="2147483833" r:id="rId89"/>
    <p:sldLayoutId id="2147483834" r:id="rId90"/>
    <p:sldLayoutId id="2147483835" r:id="rId91"/>
    <p:sldLayoutId id="2147483836" r:id="rId92"/>
    <p:sldLayoutId id="2147483837" r:id="rId93"/>
    <p:sldLayoutId id="2147483838" r:id="rId94"/>
    <p:sldLayoutId id="2147483839" r:id="rId95"/>
    <p:sldLayoutId id="2147483840" r:id="rId96"/>
    <p:sldLayoutId id="2147483841" r:id="rId97"/>
    <p:sldLayoutId id="2147483842" r:id="rId98"/>
    <p:sldLayoutId id="2147483843" r:id="rId99"/>
    <p:sldLayoutId id="2147483844" r:id="rId100"/>
    <p:sldLayoutId id="2147483845" r:id="rId101"/>
    <p:sldLayoutId id="2147483846" r:id="rId102"/>
    <p:sldLayoutId id="2147483847" r:id="rId103"/>
    <p:sldLayoutId id="2147483848" r:id="rId104"/>
    <p:sldLayoutId id="2147483849" r:id="rId105"/>
    <p:sldLayoutId id="2147483850" r:id="rId106"/>
    <p:sldLayoutId id="2147483851" r:id="rId107"/>
    <p:sldLayoutId id="2147483852" r:id="rId108"/>
    <p:sldLayoutId id="2147483853" r:id="rId109"/>
    <p:sldLayoutId id="2147483854" r:id="rId110"/>
    <p:sldLayoutId id="2147483855" r:id="rId111"/>
    <p:sldLayoutId id="2147483856" r:id="rId112"/>
    <p:sldLayoutId id="2147483857" r:id="rId113"/>
    <p:sldLayoutId id="2147483858" r:id="rId114"/>
    <p:sldLayoutId id="2147483859" r:id="rId115"/>
    <p:sldLayoutId id="2147483860" r:id="rId116"/>
    <p:sldLayoutId id="2147483861" r:id="rId117"/>
    <p:sldLayoutId id="2147483862" r:id="rId118"/>
    <p:sldLayoutId id="2147483863" r:id="rId119"/>
    <p:sldLayoutId id="2147483864" r:id="rId120"/>
    <p:sldLayoutId id="2147483865" r:id="rId121"/>
    <p:sldLayoutId id="2147483866" r:id="rId122"/>
    <p:sldLayoutId id="2147483867" r:id="rId123"/>
    <p:sldLayoutId id="2147483868" r:id="rId124"/>
    <p:sldLayoutId id="2147483869" r:id="rId125"/>
    <p:sldLayoutId id="2147483870" r:id="rId126"/>
    <p:sldLayoutId id="2147483871" r:id="rId127"/>
    <p:sldLayoutId id="2147483872" r:id="rId128"/>
    <p:sldLayoutId id="2147483873" r:id="rId129"/>
    <p:sldLayoutId id="2147483874" r:id="rId130"/>
    <p:sldLayoutId id="2147483875" r:id="rId131"/>
    <p:sldLayoutId id="2147483876" r:id="rId132"/>
    <p:sldLayoutId id="2147483877" r:id="rId133"/>
    <p:sldLayoutId id="2147483878" r:id="rId134"/>
    <p:sldLayoutId id="2147483879" r:id="rId135"/>
    <p:sldLayoutId id="2147483880" r:id="rId136"/>
    <p:sldLayoutId id="2147483881" r:id="rId137"/>
    <p:sldLayoutId id="2147483882" r:id="rId138"/>
    <p:sldLayoutId id="2147483883" r:id="rId139"/>
    <p:sldLayoutId id="2147483884" r:id="rId140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Montserrat Regular"/>
          <a:ea typeface="Montserrat Regular"/>
          <a:cs typeface="Montserrat Regular"/>
          <a:sym typeface="Montserrat Regular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Poppins Light"/>
          <a:ea typeface="Poppins Light"/>
          <a:cs typeface="Poppins Light"/>
          <a:sym typeface="Poppins Light"/>
        </a:defRPr>
      </a:lvl9pPr>
    </p:bodyStyle>
    <p:other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1pPr>
      <a:lvl2pPr marL="0" marR="0" indent="4572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2pPr>
      <a:lvl3pPr marL="0" marR="0" indent="9144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3pPr>
      <a:lvl4pPr marL="0" marR="0" indent="13716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4pPr>
      <a:lvl5pPr marL="0" marR="0" indent="18288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5pPr>
      <a:lvl6pPr marL="0" marR="0" indent="22860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6pPr>
      <a:lvl7pPr marL="0" marR="0" indent="27432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7pPr>
      <a:lvl8pPr marL="0" marR="0" indent="32004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8pPr>
      <a:lvl9pPr marL="0" marR="0" indent="36576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3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Poppins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0"/>
            </p:custDataLst>
          </p:nvPr>
        </p:nvGraphicFramePr>
        <p:xfrm>
          <a:off x="2123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2" imgW="270" imgH="270" progId="TCLayout.ActiveDocument.1">
                  <p:embed/>
                </p:oleObj>
              </mc:Choice>
              <mc:Fallback>
                <p:oleObj name="think-cell Slide" r:id="rId7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2123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111333B-FBA5-4875-A5DE-3B4281D761D5}"/>
              </a:ext>
            </a:extLst>
          </p:cNvPr>
          <p:cNvSpPr/>
          <p:nvPr userDrawn="1">
            <p:custDataLst>
              <p:tags r:id="rId71"/>
            </p:custDataLst>
          </p:nvPr>
        </p:nvSpPr>
        <p:spPr>
          <a:xfrm>
            <a:off x="2" y="1"/>
            <a:ext cx="211668" cy="211667"/>
          </a:xfrm>
          <a:prstGeom prst="rect">
            <a:avLst/>
          </a:prstGeom>
          <a:solidFill>
            <a:srgbClr val="0089C4"/>
          </a:solidFill>
          <a:ln w="25400" cap="flat" cmpd="sng" algn="ctr">
            <a:solidFill>
              <a:srgbClr val="0089C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E8F7B30E-EA8B-493C-86DB-F82608FA4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2" y="449999"/>
            <a:ext cx="9406732" cy="10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A08C5-5A5A-413C-BB47-80E1FBC063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20001" y="6512608"/>
            <a:ext cx="958356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rgbClr val="000000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1528AAF-4F0A-419B-8AAE-5F058B1EDE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92801" y="6512608"/>
            <a:ext cx="5213535" cy="1439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5343E1D-8E69-45CA-BB05-A8D2AF3930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6400" y="6465601"/>
            <a:ext cx="355200" cy="200267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5163908-529D-4A49-892F-D37C4044DFD8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846266C-4ECA-426E-AC3C-9C2166215C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3" y="1548001"/>
            <a:ext cx="10753195" cy="4617303"/>
          </a:xfrm>
          <a:prstGeom prst="rect">
            <a:avLst/>
          </a:prstGeom>
        </p:spPr>
        <p:txBody>
          <a:bodyPr vert="horz" lIns="0" tIns="0" rIns="0" bIns="0" spcCol="43200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2740F681-2DD3-46C2-9006-04B85952D3E7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837333" y="371475"/>
            <a:ext cx="645584" cy="617538"/>
          </a:xfrm>
          <a:custGeom>
            <a:avLst/>
            <a:gdLst>
              <a:gd name="T0" fmla="*/ 1814 w 2456"/>
              <a:gd name="T1" fmla="*/ 2564 h 3130"/>
              <a:gd name="T2" fmla="*/ 1228 w 2456"/>
              <a:gd name="T3" fmla="*/ 2966 h 3130"/>
              <a:gd name="T4" fmla="*/ 1301 w 2456"/>
              <a:gd name="T5" fmla="*/ 2442 h 3130"/>
              <a:gd name="T6" fmla="*/ 1750 w 2456"/>
              <a:gd name="T7" fmla="*/ 1972 h 3130"/>
              <a:gd name="T8" fmla="*/ 1228 w 2456"/>
              <a:gd name="T9" fmla="*/ 2966 h 3130"/>
              <a:gd name="T10" fmla="*/ 295 w 2456"/>
              <a:gd name="T11" fmla="*/ 582 h 3130"/>
              <a:gd name="T12" fmla="*/ 181 w 2456"/>
              <a:gd name="T13" fmla="*/ 298 h 3130"/>
              <a:gd name="T14" fmla="*/ 668 w 2456"/>
              <a:gd name="T15" fmla="*/ 672 h 3130"/>
              <a:gd name="T16" fmla="*/ 901 w 2456"/>
              <a:gd name="T17" fmla="*/ 672 h 3130"/>
              <a:gd name="T18" fmla="*/ 668 w 2456"/>
              <a:gd name="T19" fmla="*/ 446 h 3130"/>
              <a:gd name="T20" fmla="*/ 986 w 2456"/>
              <a:gd name="T21" fmla="*/ 672 h 3130"/>
              <a:gd name="T22" fmla="*/ 986 w 2456"/>
              <a:gd name="T23" fmla="*/ 298 h 3130"/>
              <a:gd name="T24" fmla="*/ 1390 w 2456"/>
              <a:gd name="T25" fmla="*/ 672 h 3130"/>
              <a:gd name="T26" fmla="*/ 1184 w 2456"/>
              <a:gd name="T27" fmla="*/ 298 h 3130"/>
              <a:gd name="T28" fmla="*/ 1562 w 2456"/>
              <a:gd name="T29" fmla="*/ 672 h 3130"/>
              <a:gd name="T30" fmla="*/ 1648 w 2456"/>
              <a:gd name="T31" fmla="*/ 672 h 3130"/>
              <a:gd name="T32" fmla="*/ 1803 w 2456"/>
              <a:gd name="T33" fmla="*/ 582 h 3130"/>
              <a:gd name="T34" fmla="*/ 1648 w 2456"/>
              <a:gd name="T35" fmla="*/ 672 h 3130"/>
              <a:gd name="T36" fmla="*/ 991 w 2456"/>
              <a:gd name="T37" fmla="*/ 1032 h 3130"/>
              <a:gd name="T38" fmla="*/ 1033 w 2456"/>
              <a:gd name="T39" fmla="*/ 1135 h 3130"/>
              <a:gd name="T40" fmla="*/ 1152 w 2456"/>
              <a:gd name="T41" fmla="*/ 1377 h 3130"/>
              <a:gd name="T42" fmla="*/ 1193 w 2456"/>
              <a:gd name="T43" fmla="*/ 1623 h 3130"/>
              <a:gd name="T44" fmla="*/ 2189 w 2456"/>
              <a:gd name="T45" fmla="*/ 568 h 3130"/>
              <a:gd name="T46" fmla="*/ 2012 w 2456"/>
              <a:gd name="T47" fmla="*/ 661 h 3130"/>
              <a:gd name="T48" fmla="*/ 2178 w 2456"/>
              <a:gd name="T49" fmla="*/ 363 h 3130"/>
              <a:gd name="T50" fmla="*/ 2011 w 2456"/>
              <a:gd name="T51" fmla="*/ 403 h 3130"/>
              <a:gd name="T52" fmla="*/ 1814 w 2456"/>
              <a:gd name="T53" fmla="*/ 2300 h 3130"/>
              <a:gd name="T54" fmla="*/ 1922 w 2456"/>
              <a:gd name="T55" fmla="*/ 1958 h 3130"/>
              <a:gd name="T56" fmla="*/ 638 w 2456"/>
              <a:gd name="T57" fmla="*/ 1235 h 3130"/>
              <a:gd name="T58" fmla="*/ 172 w 2456"/>
              <a:gd name="T59" fmla="*/ 1768 h 3130"/>
              <a:gd name="T60" fmla="*/ 638 w 2456"/>
              <a:gd name="T61" fmla="*/ 1500 h 3130"/>
              <a:gd name="T62" fmla="*/ 930 w 2456"/>
              <a:gd name="T63" fmla="*/ 1178 h 3130"/>
              <a:gd name="T64" fmla="*/ 748 w 2456"/>
              <a:gd name="T65" fmla="*/ 1235 h 3130"/>
              <a:gd name="T66" fmla="*/ 930 w 2456"/>
              <a:gd name="T67" fmla="*/ 1032 h 3130"/>
              <a:gd name="T68" fmla="*/ 726 w 2456"/>
              <a:gd name="T69" fmla="*/ 1098 h 3130"/>
              <a:gd name="T70" fmla="*/ 172 w 2456"/>
              <a:gd name="T71" fmla="*/ 2033 h 3130"/>
              <a:gd name="T72" fmla="*/ 2293 w 2456"/>
              <a:gd name="T73" fmla="*/ 1896 h 3130"/>
              <a:gd name="T74" fmla="*/ 594 w 2456"/>
              <a:gd name="T75" fmla="*/ 2006 h 3130"/>
              <a:gd name="T76" fmla="*/ 2456 w 2456"/>
              <a:gd name="T77" fmla="*/ 67 h 3130"/>
              <a:gd name="T78" fmla="*/ 0 w 2456"/>
              <a:gd name="T79" fmla="*/ 67 h 3130"/>
              <a:gd name="T80" fmla="*/ 1518 w 2456"/>
              <a:gd name="T81" fmla="*/ 2641 h 3130"/>
              <a:gd name="T82" fmla="*/ 1438 w 2456"/>
              <a:gd name="T83" fmla="*/ 2674 h 3130"/>
              <a:gd name="T84" fmla="*/ 1471 w 2456"/>
              <a:gd name="T85" fmla="*/ 2755 h 3130"/>
              <a:gd name="T86" fmla="*/ 1552 w 2456"/>
              <a:gd name="T87" fmla="*/ 2722 h 3130"/>
              <a:gd name="T88" fmla="*/ 1518 w 2456"/>
              <a:gd name="T89" fmla="*/ 2641 h 3130"/>
              <a:gd name="T90" fmla="*/ 1768 w 2456"/>
              <a:gd name="T91" fmla="*/ 361 h 3130"/>
              <a:gd name="T92" fmla="*/ 319 w 2456"/>
              <a:gd name="T93" fmla="*/ 515 h 3130"/>
              <a:gd name="T94" fmla="*/ 319 w 2456"/>
              <a:gd name="T95" fmla="*/ 360 h 3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56" h="3130">
                <a:moveTo>
                  <a:pt x="2140" y="2451"/>
                </a:moveTo>
                <a:lnTo>
                  <a:pt x="2140" y="2451"/>
                </a:lnTo>
                <a:cubicBezTo>
                  <a:pt x="2054" y="2462"/>
                  <a:pt x="1923" y="2478"/>
                  <a:pt x="1892" y="2487"/>
                </a:cubicBezTo>
                <a:cubicBezTo>
                  <a:pt x="1860" y="2496"/>
                  <a:pt x="1828" y="2516"/>
                  <a:pt x="1814" y="2564"/>
                </a:cubicBezTo>
                <a:cubicBezTo>
                  <a:pt x="1805" y="2596"/>
                  <a:pt x="1789" y="2727"/>
                  <a:pt x="1778" y="2813"/>
                </a:cubicBezTo>
                <a:cubicBezTo>
                  <a:pt x="1926" y="2724"/>
                  <a:pt x="2051" y="2599"/>
                  <a:pt x="2140" y="2451"/>
                </a:cubicBezTo>
                <a:close/>
                <a:moveTo>
                  <a:pt x="1228" y="2966"/>
                </a:moveTo>
                <a:lnTo>
                  <a:pt x="1228" y="2966"/>
                </a:lnTo>
                <a:cubicBezTo>
                  <a:pt x="1415" y="2966"/>
                  <a:pt x="1591" y="2918"/>
                  <a:pt x="1743" y="2834"/>
                </a:cubicBezTo>
                <a:cubicBezTo>
                  <a:pt x="1733" y="2749"/>
                  <a:pt x="1714" y="2599"/>
                  <a:pt x="1705" y="2564"/>
                </a:cubicBezTo>
                <a:cubicBezTo>
                  <a:pt x="1691" y="2516"/>
                  <a:pt x="1660" y="2496"/>
                  <a:pt x="1628" y="2487"/>
                </a:cubicBezTo>
                <a:cubicBezTo>
                  <a:pt x="1579" y="2474"/>
                  <a:pt x="1301" y="2442"/>
                  <a:pt x="1301" y="2442"/>
                </a:cubicBezTo>
                <a:lnTo>
                  <a:pt x="1301" y="2423"/>
                </a:lnTo>
                <a:cubicBezTo>
                  <a:pt x="1301" y="2423"/>
                  <a:pt x="1579" y="2391"/>
                  <a:pt x="1628" y="2377"/>
                </a:cubicBezTo>
                <a:cubicBezTo>
                  <a:pt x="1660" y="2369"/>
                  <a:pt x="1691" y="2348"/>
                  <a:pt x="1705" y="2300"/>
                </a:cubicBezTo>
                <a:cubicBezTo>
                  <a:pt x="1718" y="2255"/>
                  <a:pt x="1747" y="1999"/>
                  <a:pt x="1750" y="1972"/>
                </a:cubicBezTo>
                <a:cubicBezTo>
                  <a:pt x="1559" y="2007"/>
                  <a:pt x="1429" y="2095"/>
                  <a:pt x="1264" y="2179"/>
                </a:cubicBezTo>
                <a:cubicBezTo>
                  <a:pt x="1090" y="2268"/>
                  <a:pt x="920" y="2332"/>
                  <a:pt x="698" y="2332"/>
                </a:cubicBezTo>
                <a:cubicBezTo>
                  <a:pt x="503" y="2332"/>
                  <a:pt x="329" y="2269"/>
                  <a:pt x="203" y="2191"/>
                </a:cubicBezTo>
                <a:cubicBezTo>
                  <a:pt x="329" y="2638"/>
                  <a:pt x="741" y="2966"/>
                  <a:pt x="1228" y="2966"/>
                </a:cubicBezTo>
                <a:close/>
                <a:moveTo>
                  <a:pt x="181" y="672"/>
                </a:moveTo>
                <a:lnTo>
                  <a:pt x="181" y="672"/>
                </a:lnTo>
                <a:lnTo>
                  <a:pt x="295" y="672"/>
                </a:lnTo>
                <a:lnTo>
                  <a:pt x="295" y="582"/>
                </a:lnTo>
                <a:lnTo>
                  <a:pt x="336" y="582"/>
                </a:lnTo>
                <a:cubicBezTo>
                  <a:pt x="442" y="582"/>
                  <a:pt x="509" y="528"/>
                  <a:pt x="509" y="432"/>
                </a:cubicBezTo>
                <a:cubicBezTo>
                  <a:pt x="509" y="327"/>
                  <a:pt x="437" y="290"/>
                  <a:pt x="320" y="290"/>
                </a:cubicBezTo>
                <a:cubicBezTo>
                  <a:pt x="275" y="290"/>
                  <a:pt x="220" y="293"/>
                  <a:pt x="181" y="298"/>
                </a:cubicBezTo>
                <a:lnTo>
                  <a:pt x="181" y="672"/>
                </a:lnTo>
                <a:close/>
                <a:moveTo>
                  <a:pt x="554" y="672"/>
                </a:moveTo>
                <a:lnTo>
                  <a:pt x="554" y="672"/>
                </a:lnTo>
                <a:lnTo>
                  <a:pt x="668" y="672"/>
                </a:lnTo>
                <a:lnTo>
                  <a:pt x="668" y="525"/>
                </a:lnTo>
                <a:lnTo>
                  <a:pt x="787" y="525"/>
                </a:lnTo>
                <a:lnTo>
                  <a:pt x="787" y="672"/>
                </a:lnTo>
                <a:lnTo>
                  <a:pt x="901" y="672"/>
                </a:lnTo>
                <a:lnTo>
                  <a:pt x="901" y="298"/>
                </a:lnTo>
                <a:lnTo>
                  <a:pt x="787" y="298"/>
                </a:lnTo>
                <a:lnTo>
                  <a:pt x="787" y="446"/>
                </a:lnTo>
                <a:lnTo>
                  <a:pt x="668" y="446"/>
                </a:lnTo>
                <a:lnTo>
                  <a:pt x="668" y="298"/>
                </a:lnTo>
                <a:lnTo>
                  <a:pt x="554" y="298"/>
                </a:lnTo>
                <a:lnTo>
                  <a:pt x="554" y="672"/>
                </a:lnTo>
                <a:close/>
                <a:moveTo>
                  <a:pt x="986" y="672"/>
                </a:moveTo>
                <a:lnTo>
                  <a:pt x="986" y="672"/>
                </a:lnTo>
                <a:lnTo>
                  <a:pt x="1100" y="672"/>
                </a:lnTo>
                <a:lnTo>
                  <a:pt x="1100" y="298"/>
                </a:lnTo>
                <a:lnTo>
                  <a:pt x="986" y="298"/>
                </a:lnTo>
                <a:lnTo>
                  <a:pt x="986" y="672"/>
                </a:lnTo>
                <a:close/>
                <a:moveTo>
                  <a:pt x="1184" y="672"/>
                </a:moveTo>
                <a:lnTo>
                  <a:pt x="1184" y="672"/>
                </a:lnTo>
                <a:lnTo>
                  <a:pt x="1390" y="672"/>
                </a:lnTo>
                <a:lnTo>
                  <a:pt x="1408" y="596"/>
                </a:lnTo>
                <a:lnTo>
                  <a:pt x="1298" y="596"/>
                </a:lnTo>
                <a:lnTo>
                  <a:pt x="1298" y="298"/>
                </a:lnTo>
                <a:lnTo>
                  <a:pt x="1184" y="298"/>
                </a:lnTo>
                <a:lnTo>
                  <a:pt x="1184" y="672"/>
                </a:lnTo>
                <a:close/>
                <a:moveTo>
                  <a:pt x="1448" y="672"/>
                </a:moveTo>
                <a:lnTo>
                  <a:pt x="1448" y="672"/>
                </a:lnTo>
                <a:lnTo>
                  <a:pt x="1562" y="672"/>
                </a:lnTo>
                <a:lnTo>
                  <a:pt x="1562" y="298"/>
                </a:lnTo>
                <a:lnTo>
                  <a:pt x="1448" y="298"/>
                </a:lnTo>
                <a:lnTo>
                  <a:pt x="1448" y="672"/>
                </a:lnTo>
                <a:close/>
                <a:moveTo>
                  <a:pt x="1648" y="672"/>
                </a:moveTo>
                <a:lnTo>
                  <a:pt x="1648" y="672"/>
                </a:lnTo>
                <a:lnTo>
                  <a:pt x="1762" y="672"/>
                </a:lnTo>
                <a:lnTo>
                  <a:pt x="1762" y="582"/>
                </a:lnTo>
                <a:lnTo>
                  <a:pt x="1803" y="582"/>
                </a:lnTo>
                <a:cubicBezTo>
                  <a:pt x="1909" y="582"/>
                  <a:pt x="1977" y="528"/>
                  <a:pt x="1977" y="432"/>
                </a:cubicBezTo>
                <a:cubicBezTo>
                  <a:pt x="1977" y="327"/>
                  <a:pt x="1905" y="290"/>
                  <a:pt x="1787" y="290"/>
                </a:cubicBezTo>
                <a:cubicBezTo>
                  <a:pt x="1742" y="290"/>
                  <a:pt x="1687" y="293"/>
                  <a:pt x="1648" y="298"/>
                </a:cubicBezTo>
                <a:lnTo>
                  <a:pt x="1648" y="672"/>
                </a:lnTo>
                <a:close/>
                <a:moveTo>
                  <a:pt x="1228" y="837"/>
                </a:moveTo>
                <a:lnTo>
                  <a:pt x="1228" y="837"/>
                </a:lnTo>
                <a:cubicBezTo>
                  <a:pt x="1138" y="837"/>
                  <a:pt x="1051" y="848"/>
                  <a:pt x="967" y="869"/>
                </a:cubicBezTo>
                <a:cubicBezTo>
                  <a:pt x="972" y="907"/>
                  <a:pt x="984" y="1011"/>
                  <a:pt x="991" y="1032"/>
                </a:cubicBezTo>
                <a:cubicBezTo>
                  <a:pt x="998" y="1059"/>
                  <a:pt x="1015" y="1070"/>
                  <a:pt x="1033" y="1075"/>
                </a:cubicBezTo>
                <a:cubicBezTo>
                  <a:pt x="1060" y="1082"/>
                  <a:pt x="1210" y="1099"/>
                  <a:pt x="1210" y="1099"/>
                </a:cubicBezTo>
                <a:lnTo>
                  <a:pt x="1210" y="1110"/>
                </a:lnTo>
                <a:cubicBezTo>
                  <a:pt x="1210" y="1110"/>
                  <a:pt x="1060" y="1128"/>
                  <a:pt x="1033" y="1135"/>
                </a:cubicBezTo>
                <a:cubicBezTo>
                  <a:pt x="1015" y="1140"/>
                  <a:pt x="998" y="1151"/>
                  <a:pt x="991" y="1178"/>
                </a:cubicBezTo>
                <a:cubicBezTo>
                  <a:pt x="985" y="1198"/>
                  <a:pt x="973" y="1294"/>
                  <a:pt x="968" y="1335"/>
                </a:cubicBezTo>
                <a:cubicBezTo>
                  <a:pt x="1056" y="1347"/>
                  <a:pt x="1152" y="1358"/>
                  <a:pt x="1152" y="1358"/>
                </a:cubicBezTo>
                <a:lnTo>
                  <a:pt x="1152" y="1377"/>
                </a:lnTo>
                <a:cubicBezTo>
                  <a:pt x="1152" y="1377"/>
                  <a:pt x="873" y="1409"/>
                  <a:pt x="825" y="1422"/>
                </a:cubicBezTo>
                <a:cubicBezTo>
                  <a:pt x="793" y="1431"/>
                  <a:pt x="762" y="1452"/>
                  <a:pt x="748" y="1500"/>
                </a:cubicBezTo>
                <a:cubicBezTo>
                  <a:pt x="735" y="1544"/>
                  <a:pt x="707" y="1785"/>
                  <a:pt x="703" y="1822"/>
                </a:cubicBezTo>
                <a:cubicBezTo>
                  <a:pt x="899" y="1786"/>
                  <a:pt x="1067" y="1684"/>
                  <a:pt x="1193" y="1623"/>
                </a:cubicBezTo>
                <a:cubicBezTo>
                  <a:pt x="1372" y="1537"/>
                  <a:pt x="1536" y="1466"/>
                  <a:pt x="1760" y="1466"/>
                </a:cubicBezTo>
                <a:cubicBezTo>
                  <a:pt x="1954" y="1466"/>
                  <a:pt x="2126" y="1528"/>
                  <a:pt x="2251" y="1606"/>
                </a:cubicBezTo>
                <a:cubicBezTo>
                  <a:pt x="2123" y="1162"/>
                  <a:pt x="1714" y="837"/>
                  <a:pt x="1228" y="837"/>
                </a:cubicBezTo>
                <a:close/>
                <a:moveTo>
                  <a:pt x="2189" y="568"/>
                </a:moveTo>
                <a:lnTo>
                  <a:pt x="2189" y="568"/>
                </a:lnTo>
                <a:cubicBezTo>
                  <a:pt x="2189" y="592"/>
                  <a:pt x="2172" y="604"/>
                  <a:pt x="2130" y="604"/>
                </a:cubicBezTo>
                <a:cubicBezTo>
                  <a:pt x="2092" y="604"/>
                  <a:pt x="2034" y="592"/>
                  <a:pt x="2000" y="575"/>
                </a:cubicBezTo>
                <a:lnTo>
                  <a:pt x="2012" y="661"/>
                </a:lnTo>
                <a:cubicBezTo>
                  <a:pt x="2047" y="673"/>
                  <a:pt x="2094" y="679"/>
                  <a:pt x="2131" y="679"/>
                </a:cubicBezTo>
                <a:cubicBezTo>
                  <a:pt x="2227" y="679"/>
                  <a:pt x="2305" y="648"/>
                  <a:pt x="2305" y="554"/>
                </a:cubicBezTo>
                <a:cubicBezTo>
                  <a:pt x="2305" y="429"/>
                  <a:pt x="2125" y="453"/>
                  <a:pt x="2125" y="393"/>
                </a:cubicBezTo>
                <a:cubicBezTo>
                  <a:pt x="2125" y="373"/>
                  <a:pt x="2145" y="363"/>
                  <a:pt x="2178" y="363"/>
                </a:cubicBezTo>
                <a:cubicBezTo>
                  <a:pt x="2214" y="363"/>
                  <a:pt x="2253" y="371"/>
                  <a:pt x="2280" y="382"/>
                </a:cubicBezTo>
                <a:lnTo>
                  <a:pt x="2270" y="301"/>
                </a:lnTo>
                <a:cubicBezTo>
                  <a:pt x="2241" y="295"/>
                  <a:pt x="2214" y="290"/>
                  <a:pt x="2166" y="290"/>
                </a:cubicBezTo>
                <a:cubicBezTo>
                  <a:pt x="2073" y="290"/>
                  <a:pt x="2011" y="326"/>
                  <a:pt x="2011" y="403"/>
                </a:cubicBezTo>
                <a:cubicBezTo>
                  <a:pt x="2011" y="534"/>
                  <a:pt x="2189" y="507"/>
                  <a:pt x="2189" y="568"/>
                </a:cubicBezTo>
                <a:close/>
                <a:moveTo>
                  <a:pt x="1769" y="1969"/>
                </a:moveTo>
                <a:lnTo>
                  <a:pt x="1769" y="1969"/>
                </a:lnTo>
                <a:cubicBezTo>
                  <a:pt x="1771" y="1990"/>
                  <a:pt x="1801" y="2254"/>
                  <a:pt x="1814" y="2300"/>
                </a:cubicBezTo>
                <a:cubicBezTo>
                  <a:pt x="1828" y="2348"/>
                  <a:pt x="1860" y="2369"/>
                  <a:pt x="1892" y="2377"/>
                </a:cubicBezTo>
                <a:cubicBezTo>
                  <a:pt x="1926" y="2387"/>
                  <a:pt x="2077" y="2406"/>
                  <a:pt x="2161" y="2416"/>
                </a:cubicBezTo>
                <a:cubicBezTo>
                  <a:pt x="2226" y="2299"/>
                  <a:pt x="2269" y="2168"/>
                  <a:pt x="2285" y="2029"/>
                </a:cubicBezTo>
                <a:cubicBezTo>
                  <a:pt x="2168" y="1982"/>
                  <a:pt x="2033" y="1958"/>
                  <a:pt x="1922" y="1958"/>
                </a:cubicBezTo>
                <a:cubicBezTo>
                  <a:pt x="1866" y="1958"/>
                  <a:pt x="1816" y="1962"/>
                  <a:pt x="1769" y="1969"/>
                </a:cubicBezTo>
                <a:close/>
                <a:moveTo>
                  <a:pt x="561" y="1313"/>
                </a:moveTo>
                <a:lnTo>
                  <a:pt x="561" y="1313"/>
                </a:lnTo>
                <a:cubicBezTo>
                  <a:pt x="593" y="1304"/>
                  <a:pt x="624" y="1283"/>
                  <a:pt x="638" y="1235"/>
                </a:cubicBezTo>
                <a:cubicBezTo>
                  <a:pt x="647" y="1205"/>
                  <a:pt x="663" y="1079"/>
                  <a:pt x="673" y="993"/>
                </a:cubicBezTo>
                <a:cubicBezTo>
                  <a:pt x="529" y="1081"/>
                  <a:pt x="407" y="1203"/>
                  <a:pt x="319" y="1348"/>
                </a:cubicBezTo>
                <a:cubicBezTo>
                  <a:pt x="405" y="1337"/>
                  <a:pt x="530" y="1321"/>
                  <a:pt x="561" y="1313"/>
                </a:cubicBezTo>
                <a:close/>
                <a:moveTo>
                  <a:pt x="172" y="1768"/>
                </a:moveTo>
                <a:lnTo>
                  <a:pt x="172" y="1768"/>
                </a:lnTo>
                <a:cubicBezTo>
                  <a:pt x="289" y="1814"/>
                  <a:pt x="423" y="1838"/>
                  <a:pt x="533" y="1838"/>
                </a:cubicBezTo>
                <a:cubicBezTo>
                  <a:pt x="586" y="1838"/>
                  <a:pt x="635" y="1833"/>
                  <a:pt x="683" y="1825"/>
                </a:cubicBezTo>
                <a:cubicBezTo>
                  <a:pt x="678" y="1787"/>
                  <a:pt x="651" y="1544"/>
                  <a:pt x="638" y="1500"/>
                </a:cubicBezTo>
                <a:cubicBezTo>
                  <a:pt x="624" y="1452"/>
                  <a:pt x="593" y="1431"/>
                  <a:pt x="561" y="1422"/>
                </a:cubicBezTo>
                <a:cubicBezTo>
                  <a:pt x="527" y="1413"/>
                  <a:pt x="382" y="1395"/>
                  <a:pt x="297" y="1385"/>
                </a:cubicBezTo>
                <a:cubicBezTo>
                  <a:pt x="233" y="1501"/>
                  <a:pt x="189" y="1630"/>
                  <a:pt x="172" y="1768"/>
                </a:cubicBezTo>
                <a:close/>
                <a:moveTo>
                  <a:pt x="930" y="1178"/>
                </a:moveTo>
                <a:lnTo>
                  <a:pt x="930" y="1178"/>
                </a:lnTo>
                <a:cubicBezTo>
                  <a:pt x="922" y="1151"/>
                  <a:pt x="905" y="1140"/>
                  <a:pt x="887" y="1135"/>
                </a:cubicBezTo>
                <a:cubicBezTo>
                  <a:pt x="866" y="1129"/>
                  <a:pt x="768" y="1117"/>
                  <a:pt x="728" y="1112"/>
                </a:cubicBezTo>
                <a:cubicBezTo>
                  <a:pt x="735" y="1168"/>
                  <a:pt x="743" y="1217"/>
                  <a:pt x="748" y="1235"/>
                </a:cubicBezTo>
                <a:cubicBezTo>
                  <a:pt x="762" y="1283"/>
                  <a:pt x="793" y="1304"/>
                  <a:pt x="825" y="1313"/>
                </a:cubicBezTo>
                <a:cubicBezTo>
                  <a:pt x="844" y="1318"/>
                  <a:pt x="895" y="1325"/>
                  <a:pt x="952" y="1333"/>
                </a:cubicBezTo>
                <a:cubicBezTo>
                  <a:pt x="947" y="1291"/>
                  <a:pt x="936" y="1198"/>
                  <a:pt x="930" y="1178"/>
                </a:cubicBezTo>
                <a:close/>
                <a:moveTo>
                  <a:pt x="930" y="1032"/>
                </a:moveTo>
                <a:lnTo>
                  <a:pt x="930" y="1032"/>
                </a:lnTo>
                <a:cubicBezTo>
                  <a:pt x="936" y="1011"/>
                  <a:pt x="948" y="913"/>
                  <a:pt x="953" y="873"/>
                </a:cubicBezTo>
                <a:cubicBezTo>
                  <a:pt x="867" y="896"/>
                  <a:pt x="786" y="929"/>
                  <a:pt x="710" y="971"/>
                </a:cubicBezTo>
                <a:cubicBezTo>
                  <a:pt x="714" y="1007"/>
                  <a:pt x="720" y="1053"/>
                  <a:pt x="726" y="1098"/>
                </a:cubicBezTo>
                <a:cubicBezTo>
                  <a:pt x="765" y="1093"/>
                  <a:pt x="866" y="1081"/>
                  <a:pt x="887" y="1075"/>
                </a:cubicBezTo>
                <a:cubicBezTo>
                  <a:pt x="905" y="1070"/>
                  <a:pt x="922" y="1059"/>
                  <a:pt x="930" y="1032"/>
                </a:cubicBezTo>
                <a:close/>
                <a:moveTo>
                  <a:pt x="172" y="2033"/>
                </a:moveTo>
                <a:lnTo>
                  <a:pt x="172" y="2033"/>
                </a:lnTo>
                <a:cubicBezTo>
                  <a:pt x="306" y="2119"/>
                  <a:pt x="494" y="2162"/>
                  <a:pt x="651" y="2162"/>
                </a:cubicBezTo>
                <a:cubicBezTo>
                  <a:pt x="889" y="2162"/>
                  <a:pt x="1032" y="2091"/>
                  <a:pt x="1189" y="2013"/>
                </a:cubicBezTo>
                <a:cubicBezTo>
                  <a:pt x="1405" y="1905"/>
                  <a:pt x="1584" y="1791"/>
                  <a:pt x="1865" y="1793"/>
                </a:cubicBezTo>
                <a:cubicBezTo>
                  <a:pt x="2035" y="1794"/>
                  <a:pt x="2185" y="1838"/>
                  <a:pt x="2293" y="1896"/>
                </a:cubicBezTo>
                <a:cubicBezTo>
                  <a:pt x="2293" y="1851"/>
                  <a:pt x="2290" y="1807"/>
                  <a:pt x="2284" y="1763"/>
                </a:cubicBezTo>
                <a:cubicBezTo>
                  <a:pt x="2150" y="1678"/>
                  <a:pt x="1963" y="1634"/>
                  <a:pt x="1806" y="1634"/>
                </a:cubicBezTo>
                <a:cubicBezTo>
                  <a:pt x="1569" y="1634"/>
                  <a:pt x="1426" y="1707"/>
                  <a:pt x="1269" y="1785"/>
                </a:cubicBezTo>
                <a:cubicBezTo>
                  <a:pt x="1067" y="1885"/>
                  <a:pt x="874" y="2006"/>
                  <a:pt x="594" y="2006"/>
                </a:cubicBezTo>
                <a:cubicBezTo>
                  <a:pt x="423" y="2006"/>
                  <a:pt x="164" y="1901"/>
                  <a:pt x="164" y="1902"/>
                </a:cubicBezTo>
                <a:cubicBezTo>
                  <a:pt x="164" y="1946"/>
                  <a:pt x="166" y="1991"/>
                  <a:pt x="172" y="2033"/>
                </a:cubicBezTo>
                <a:close/>
                <a:moveTo>
                  <a:pt x="2456" y="67"/>
                </a:moveTo>
                <a:lnTo>
                  <a:pt x="2456" y="67"/>
                </a:lnTo>
                <a:lnTo>
                  <a:pt x="2456" y="1900"/>
                </a:lnTo>
                <a:cubicBezTo>
                  <a:pt x="2456" y="2578"/>
                  <a:pt x="1905" y="3130"/>
                  <a:pt x="1228" y="3130"/>
                </a:cubicBezTo>
                <a:cubicBezTo>
                  <a:pt x="539" y="3130"/>
                  <a:pt x="0" y="2578"/>
                  <a:pt x="0" y="1900"/>
                </a:cubicBezTo>
                <a:lnTo>
                  <a:pt x="0" y="67"/>
                </a:lnTo>
                <a:cubicBezTo>
                  <a:pt x="159" y="47"/>
                  <a:pt x="672" y="0"/>
                  <a:pt x="1228" y="0"/>
                </a:cubicBezTo>
                <a:cubicBezTo>
                  <a:pt x="1771" y="0"/>
                  <a:pt x="2291" y="44"/>
                  <a:pt x="2456" y="67"/>
                </a:cubicBezTo>
                <a:close/>
                <a:moveTo>
                  <a:pt x="1518" y="2641"/>
                </a:moveTo>
                <a:lnTo>
                  <a:pt x="1518" y="2641"/>
                </a:lnTo>
                <a:cubicBezTo>
                  <a:pt x="1512" y="2621"/>
                  <a:pt x="1499" y="2504"/>
                  <a:pt x="1499" y="2504"/>
                </a:cubicBezTo>
                <a:lnTo>
                  <a:pt x="1491" y="2504"/>
                </a:lnTo>
                <a:cubicBezTo>
                  <a:pt x="1491" y="2504"/>
                  <a:pt x="1477" y="2621"/>
                  <a:pt x="1471" y="2641"/>
                </a:cubicBezTo>
                <a:cubicBezTo>
                  <a:pt x="1465" y="2662"/>
                  <a:pt x="1452" y="2671"/>
                  <a:pt x="1438" y="2674"/>
                </a:cubicBezTo>
                <a:cubicBezTo>
                  <a:pt x="1417" y="2680"/>
                  <a:pt x="1300" y="2694"/>
                  <a:pt x="1300" y="2694"/>
                </a:cubicBezTo>
                <a:lnTo>
                  <a:pt x="1300" y="2702"/>
                </a:lnTo>
                <a:cubicBezTo>
                  <a:pt x="1300" y="2702"/>
                  <a:pt x="1417" y="2716"/>
                  <a:pt x="1438" y="2722"/>
                </a:cubicBezTo>
                <a:cubicBezTo>
                  <a:pt x="1452" y="2726"/>
                  <a:pt x="1465" y="2734"/>
                  <a:pt x="1471" y="2755"/>
                </a:cubicBezTo>
                <a:cubicBezTo>
                  <a:pt x="1477" y="2776"/>
                  <a:pt x="1491" y="2893"/>
                  <a:pt x="1491" y="2893"/>
                </a:cubicBezTo>
                <a:lnTo>
                  <a:pt x="1499" y="2893"/>
                </a:lnTo>
                <a:cubicBezTo>
                  <a:pt x="1499" y="2893"/>
                  <a:pt x="1512" y="2776"/>
                  <a:pt x="1518" y="2755"/>
                </a:cubicBezTo>
                <a:cubicBezTo>
                  <a:pt x="1524" y="2734"/>
                  <a:pt x="1538" y="2726"/>
                  <a:pt x="1552" y="2722"/>
                </a:cubicBezTo>
                <a:cubicBezTo>
                  <a:pt x="1572" y="2716"/>
                  <a:pt x="1689" y="2702"/>
                  <a:pt x="1689" y="2702"/>
                </a:cubicBezTo>
                <a:lnTo>
                  <a:pt x="1689" y="2694"/>
                </a:lnTo>
                <a:cubicBezTo>
                  <a:pt x="1689" y="2694"/>
                  <a:pt x="1572" y="2680"/>
                  <a:pt x="1552" y="2674"/>
                </a:cubicBezTo>
                <a:cubicBezTo>
                  <a:pt x="1538" y="2671"/>
                  <a:pt x="1524" y="2662"/>
                  <a:pt x="1518" y="2641"/>
                </a:cubicBezTo>
                <a:close/>
                <a:moveTo>
                  <a:pt x="1870" y="434"/>
                </a:moveTo>
                <a:lnTo>
                  <a:pt x="1870" y="434"/>
                </a:lnTo>
                <a:cubicBezTo>
                  <a:pt x="1870" y="387"/>
                  <a:pt x="1843" y="360"/>
                  <a:pt x="1787" y="360"/>
                </a:cubicBezTo>
                <a:cubicBezTo>
                  <a:pt x="1781" y="360"/>
                  <a:pt x="1775" y="360"/>
                  <a:pt x="1768" y="361"/>
                </a:cubicBezTo>
                <a:lnTo>
                  <a:pt x="1768" y="515"/>
                </a:lnTo>
                <a:lnTo>
                  <a:pt x="1787" y="515"/>
                </a:lnTo>
                <a:cubicBezTo>
                  <a:pt x="1846" y="515"/>
                  <a:pt x="1870" y="482"/>
                  <a:pt x="1870" y="434"/>
                </a:cubicBezTo>
                <a:close/>
                <a:moveTo>
                  <a:pt x="319" y="515"/>
                </a:moveTo>
                <a:lnTo>
                  <a:pt x="319" y="515"/>
                </a:lnTo>
                <a:lnTo>
                  <a:pt x="301" y="515"/>
                </a:lnTo>
                <a:lnTo>
                  <a:pt x="301" y="361"/>
                </a:lnTo>
                <a:cubicBezTo>
                  <a:pt x="307" y="360"/>
                  <a:pt x="313" y="360"/>
                  <a:pt x="319" y="360"/>
                </a:cubicBezTo>
                <a:cubicBezTo>
                  <a:pt x="376" y="360"/>
                  <a:pt x="402" y="387"/>
                  <a:pt x="402" y="434"/>
                </a:cubicBezTo>
                <a:cubicBezTo>
                  <a:pt x="402" y="482"/>
                  <a:pt x="379" y="515"/>
                  <a:pt x="319" y="515"/>
                </a:cubicBezTo>
                <a:close/>
              </a:path>
            </a:pathLst>
          </a:custGeom>
          <a:solidFill>
            <a:srgbClr val="0B5ED7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898803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  <p:sldLayoutId id="2147483899" r:id="rId14"/>
    <p:sldLayoutId id="2147483900" r:id="rId15"/>
    <p:sldLayoutId id="2147483901" r:id="rId16"/>
    <p:sldLayoutId id="2147483902" r:id="rId17"/>
    <p:sldLayoutId id="2147483903" r:id="rId18"/>
    <p:sldLayoutId id="2147483904" r:id="rId19"/>
    <p:sldLayoutId id="2147483905" r:id="rId20"/>
    <p:sldLayoutId id="2147483906" r:id="rId21"/>
    <p:sldLayoutId id="2147483907" r:id="rId22"/>
    <p:sldLayoutId id="2147483908" r:id="rId23"/>
    <p:sldLayoutId id="2147483909" r:id="rId24"/>
    <p:sldLayoutId id="2147483910" r:id="rId25"/>
    <p:sldLayoutId id="2147483911" r:id="rId26"/>
    <p:sldLayoutId id="2147483912" r:id="rId27"/>
    <p:sldLayoutId id="2147483913" r:id="rId28"/>
    <p:sldLayoutId id="2147483914" r:id="rId29"/>
    <p:sldLayoutId id="2147483915" r:id="rId30"/>
    <p:sldLayoutId id="2147483916" r:id="rId31"/>
    <p:sldLayoutId id="2147483917" r:id="rId32"/>
    <p:sldLayoutId id="2147483918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39" r:id="rId54"/>
    <p:sldLayoutId id="2147483940" r:id="rId55"/>
    <p:sldLayoutId id="2147483941" r:id="rId56"/>
    <p:sldLayoutId id="2147483942" r:id="rId57"/>
    <p:sldLayoutId id="2147483943" r:id="rId58"/>
    <p:sldLayoutId id="2147483944" r:id="rId59"/>
    <p:sldLayoutId id="2147483945" r:id="rId60"/>
    <p:sldLayoutId id="2147483946" r:id="rId61"/>
    <p:sldLayoutId id="2147483947" r:id="rId62"/>
    <p:sldLayoutId id="2147483948" r:id="rId63"/>
    <p:sldLayoutId id="2147483949" r:id="rId64"/>
    <p:sldLayoutId id="2147483950" r:id="rId65"/>
    <p:sldLayoutId id="2147483951" r:id="rId66"/>
    <p:sldLayoutId id="2147483952" r:id="rId67"/>
    <p:sldLayoutId id="2147483953" r:id="rId68"/>
  </p:sldLayoutIdLst>
  <p:hf hdr="0"/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lang="en-US" sz="3200" kern="120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9456" indent="-219456" algn="l" defTabSz="914354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429768" indent="-182880" algn="l" defTabSz="914354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76072" indent="-146304" algn="l" defTabSz="914354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95528" indent="-182880" algn="l" defTabSz="914354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–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01657" indent="-107948" algn="l" defTabSz="914354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 typeface="Calibri" panose="020F0502020204030204" pitchFamily="34" charset="0"/>
        <a:buChar char="•"/>
        <a:defRPr lang="en-IN" sz="1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791">
          <p15:clr>
            <a:srgbClr val="A4A3A4"/>
          </p15:clr>
        </p15:guide>
        <p15:guide id="2" pos="5424">
          <p15:clr>
            <a:srgbClr val="A4A3A4"/>
          </p15:clr>
        </p15:guide>
        <p15:guide id="3" pos="336">
          <p15:clr>
            <a:srgbClr val="A4A3A4"/>
          </p15:clr>
        </p15:guide>
        <p15:guide id="4" orient="horz" pos="981">
          <p15:clr>
            <a:srgbClr val="000000"/>
          </p15:clr>
        </p15:guide>
        <p15:guide id="5" orient="horz" pos="913">
          <p15:clr>
            <a:srgbClr val="000000"/>
          </p15:clr>
        </p15:guide>
        <p15:guide id="6" orient="horz" pos="278">
          <p15:clr>
            <a:srgbClr val="000000"/>
          </p15:clr>
        </p15:guide>
        <p15:guide id="7" orient="horz" pos="3884">
          <p15:clr>
            <a:srgbClr val="000000"/>
          </p15:clr>
        </p15:guide>
        <p15:guide id="8" pos="2880">
          <p15:clr>
            <a:srgbClr val="000000"/>
          </p15:clr>
        </p15:guide>
        <p15:guide id="9" pos="3016">
          <p15:clr>
            <a:srgbClr val="000000"/>
          </p15:clr>
        </p15:guide>
        <p15:guide id="10" pos="2744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uk-UA" dirty="0"/>
              <a:t>Анна Жарова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uk-UA" b="1" dirty="0"/>
              <a:t>24 квітня 2024 р</a:t>
            </a:r>
            <a:endParaRPr lang="en-US" b="1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ru-RU" b="1" dirty="0"/>
              <a:t>Визначальні тренди конкуренції у сфері e-commerce</a:t>
            </a:r>
            <a:endParaRPr lang="en-US" b="1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89C99D-181C-E1C0-717B-554A3E6FBE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uk-UA" b="1" dirty="0"/>
              <a:t>ІХ </a:t>
            </a:r>
            <a:r>
              <a:rPr lang="en-US" b="1" dirty="0"/>
              <a:t>Ukrainian Antitrust Forum</a:t>
            </a:r>
            <a:endParaRPr lang="uk-UA" b="1" dirty="0"/>
          </a:p>
        </p:txBody>
      </p:sp>
    </p:spTree>
    <p:extLst>
      <p:ext uri="{BB962C8B-B14F-4D97-AF65-F5344CB8AC3E}">
        <p14:creationId xmlns:p14="http://schemas.microsoft.com/office/powerpoint/2010/main" val="16156164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2" name="Shape 8252"/>
          <p:cNvSpPr/>
          <p:nvPr/>
        </p:nvSpPr>
        <p:spPr>
          <a:xfrm>
            <a:off x="4735236" y="2145725"/>
            <a:ext cx="2620965" cy="348773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61" y="0"/>
                </a:moveTo>
                <a:cubicBezTo>
                  <a:pt x="839" y="0"/>
                  <a:pt x="839" y="0"/>
                  <a:pt x="839" y="0"/>
                </a:cubicBezTo>
                <a:cubicBezTo>
                  <a:pt x="384" y="0"/>
                  <a:pt x="0" y="277"/>
                  <a:pt x="0" y="632"/>
                </a:cubicBezTo>
                <a:cubicBezTo>
                  <a:pt x="0" y="20968"/>
                  <a:pt x="0" y="20968"/>
                  <a:pt x="0" y="20968"/>
                </a:cubicBezTo>
                <a:cubicBezTo>
                  <a:pt x="0" y="21323"/>
                  <a:pt x="384" y="21600"/>
                  <a:pt x="839" y="21600"/>
                </a:cubicBezTo>
                <a:cubicBezTo>
                  <a:pt x="9629" y="21600"/>
                  <a:pt x="9629" y="21600"/>
                  <a:pt x="9629" y="21600"/>
                </a:cubicBezTo>
                <a:cubicBezTo>
                  <a:pt x="9577" y="21508"/>
                  <a:pt x="9542" y="21389"/>
                  <a:pt x="9542" y="21271"/>
                </a:cubicBezTo>
                <a:cubicBezTo>
                  <a:pt x="9542" y="20783"/>
                  <a:pt x="10066" y="20388"/>
                  <a:pt x="10695" y="20388"/>
                </a:cubicBezTo>
                <a:cubicBezTo>
                  <a:pt x="11342" y="20388"/>
                  <a:pt x="11866" y="20783"/>
                  <a:pt x="11866" y="21271"/>
                </a:cubicBezTo>
                <a:cubicBezTo>
                  <a:pt x="11866" y="21389"/>
                  <a:pt x="11831" y="21508"/>
                  <a:pt x="11779" y="21600"/>
                </a:cubicBezTo>
                <a:cubicBezTo>
                  <a:pt x="20761" y="21600"/>
                  <a:pt x="20761" y="21600"/>
                  <a:pt x="20761" y="21600"/>
                </a:cubicBezTo>
                <a:cubicBezTo>
                  <a:pt x="21233" y="21600"/>
                  <a:pt x="21600" y="21323"/>
                  <a:pt x="21600" y="20968"/>
                </a:cubicBezTo>
                <a:cubicBezTo>
                  <a:pt x="21600" y="632"/>
                  <a:pt x="21600" y="632"/>
                  <a:pt x="21600" y="632"/>
                </a:cubicBezTo>
                <a:cubicBezTo>
                  <a:pt x="21600" y="277"/>
                  <a:pt x="21233" y="0"/>
                  <a:pt x="20761" y="0"/>
                </a:cubicBezTo>
              </a:path>
            </a:pathLst>
          </a:custGeom>
          <a:solidFill>
            <a:srgbClr val="D9D9D9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53" name="Shape 8253"/>
          <p:cNvSpPr/>
          <p:nvPr/>
        </p:nvSpPr>
        <p:spPr>
          <a:xfrm>
            <a:off x="4897161" y="2298125"/>
            <a:ext cx="2306640" cy="3049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0877"/>
                </a:moveTo>
                <a:cubicBezTo>
                  <a:pt x="21600" y="21269"/>
                  <a:pt x="21183" y="21600"/>
                  <a:pt x="20647" y="21600"/>
                </a:cubicBezTo>
                <a:cubicBezTo>
                  <a:pt x="953" y="21600"/>
                  <a:pt x="953" y="21600"/>
                  <a:pt x="953" y="21600"/>
                </a:cubicBezTo>
                <a:cubicBezTo>
                  <a:pt x="437" y="21600"/>
                  <a:pt x="0" y="21269"/>
                  <a:pt x="0" y="20877"/>
                </a:cubicBezTo>
                <a:cubicBezTo>
                  <a:pt x="0" y="723"/>
                  <a:pt x="0" y="723"/>
                  <a:pt x="0" y="723"/>
                </a:cubicBezTo>
                <a:cubicBezTo>
                  <a:pt x="0" y="316"/>
                  <a:pt x="437" y="0"/>
                  <a:pt x="953" y="0"/>
                </a:cubicBezTo>
                <a:cubicBezTo>
                  <a:pt x="20647" y="0"/>
                  <a:pt x="20647" y="0"/>
                  <a:pt x="20647" y="0"/>
                </a:cubicBezTo>
                <a:cubicBezTo>
                  <a:pt x="21183" y="0"/>
                  <a:pt x="21600" y="316"/>
                  <a:pt x="21600" y="723"/>
                </a:cubicBezTo>
                <a:cubicBezTo>
                  <a:pt x="21600" y="20877"/>
                  <a:pt x="21600" y="20877"/>
                  <a:pt x="21600" y="20877"/>
                </a:cubicBezTo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54" name="Shape 8254"/>
          <p:cNvSpPr/>
          <p:nvPr/>
        </p:nvSpPr>
        <p:spPr>
          <a:xfrm>
            <a:off x="4222060" y="2888676"/>
            <a:ext cx="631826" cy="63659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626" y="2167"/>
                </a:moveTo>
                <a:cubicBezTo>
                  <a:pt x="8626" y="795"/>
                  <a:pt x="9205" y="0"/>
                  <a:pt x="10800" y="0"/>
                </a:cubicBezTo>
                <a:cubicBezTo>
                  <a:pt x="12395" y="0"/>
                  <a:pt x="12974" y="795"/>
                  <a:pt x="12974" y="2167"/>
                </a:cubicBezTo>
                <a:cubicBezTo>
                  <a:pt x="12974" y="8669"/>
                  <a:pt x="12974" y="8669"/>
                  <a:pt x="12974" y="8669"/>
                </a:cubicBezTo>
                <a:cubicBezTo>
                  <a:pt x="19426" y="8669"/>
                  <a:pt x="19426" y="8669"/>
                  <a:pt x="19426" y="8669"/>
                </a:cubicBezTo>
                <a:cubicBezTo>
                  <a:pt x="20513" y="8669"/>
                  <a:pt x="21600" y="9247"/>
                  <a:pt x="21600" y="10836"/>
                </a:cubicBezTo>
                <a:cubicBezTo>
                  <a:pt x="21600" y="12425"/>
                  <a:pt x="20513" y="13003"/>
                  <a:pt x="19426" y="13003"/>
                </a:cubicBezTo>
                <a:cubicBezTo>
                  <a:pt x="12974" y="13003"/>
                  <a:pt x="12974" y="13003"/>
                  <a:pt x="12974" y="13003"/>
                </a:cubicBezTo>
                <a:cubicBezTo>
                  <a:pt x="12974" y="19433"/>
                  <a:pt x="12974" y="19433"/>
                  <a:pt x="12974" y="19433"/>
                </a:cubicBezTo>
                <a:cubicBezTo>
                  <a:pt x="12974" y="20805"/>
                  <a:pt x="12395" y="21600"/>
                  <a:pt x="10800" y="21600"/>
                </a:cubicBezTo>
                <a:cubicBezTo>
                  <a:pt x="9205" y="21600"/>
                  <a:pt x="8626" y="20805"/>
                  <a:pt x="8626" y="19433"/>
                </a:cubicBezTo>
                <a:cubicBezTo>
                  <a:pt x="8626" y="13003"/>
                  <a:pt x="8626" y="13003"/>
                  <a:pt x="8626" y="13003"/>
                </a:cubicBezTo>
                <a:cubicBezTo>
                  <a:pt x="2174" y="13003"/>
                  <a:pt x="2174" y="13003"/>
                  <a:pt x="2174" y="13003"/>
                </a:cubicBezTo>
                <a:cubicBezTo>
                  <a:pt x="1087" y="13003"/>
                  <a:pt x="0" y="12425"/>
                  <a:pt x="0" y="10836"/>
                </a:cubicBezTo>
                <a:cubicBezTo>
                  <a:pt x="0" y="9247"/>
                  <a:pt x="1087" y="8669"/>
                  <a:pt x="2174" y="8669"/>
                </a:cubicBezTo>
                <a:cubicBezTo>
                  <a:pt x="8626" y="8669"/>
                  <a:pt x="8626" y="8669"/>
                  <a:pt x="8626" y="8669"/>
                </a:cubicBezTo>
                <a:lnTo>
                  <a:pt x="8626" y="2167"/>
                </a:lnTo>
                <a:close/>
              </a:path>
            </a:pathLst>
          </a:custGeom>
          <a:solidFill>
            <a:srgbClr val="231F20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grpSp>
        <p:nvGrpSpPr>
          <p:cNvPr id="8264" name="Group 8264"/>
          <p:cNvGrpSpPr/>
          <p:nvPr/>
        </p:nvGrpSpPr>
        <p:grpSpPr>
          <a:xfrm>
            <a:off x="1688079" y="3774533"/>
            <a:ext cx="2268800" cy="2534155"/>
            <a:chOff x="0" y="0"/>
            <a:chExt cx="2268799" cy="2534153"/>
          </a:xfrm>
        </p:grpSpPr>
        <p:sp>
          <p:nvSpPr>
            <p:cNvPr id="8255" name="Shape 8255"/>
            <p:cNvSpPr/>
            <p:nvPr/>
          </p:nvSpPr>
          <p:spPr>
            <a:xfrm>
              <a:off x="743472" y="579940"/>
              <a:ext cx="1525328" cy="119856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74" h="21600" extrusionOk="0">
                  <a:moveTo>
                    <a:pt x="21274" y="21447"/>
                  </a:moveTo>
                  <a:cubicBezTo>
                    <a:pt x="364" y="21600"/>
                    <a:pt x="364" y="21600"/>
                    <a:pt x="364" y="21600"/>
                  </a:cubicBezTo>
                  <a:cubicBezTo>
                    <a:pt x="214" y="21600"/>
                    <a:pt x="94" y="21447"/>
                    <a:pt x="94" y="21216"/>
                  </a:cubicBezTo>
                  <a:cubicBezTo>
                    <a:pt x="4" y="537"/>
                    <a:pt x="4" y="537"/>
                    <a:pt x="4" y="537"/>
                  </a:cubicBezTo>
                  <a:cubicBezTo>
                    <a:pt x="-26" y="307"/>
                    <a:pt x="124" y="153"/>
                    <a:pt x="274" y="153"/>
                  </a:cubicBezTo>
                  <a:cubicBezTo>
                    <a:pt x="21184" y="0"/>
                    <a:pt x="21184" y="0"/>
                    <a:pt x="21184" y="0"/>
                  </a:cubicBezTo>
                  <a:cubicBezTo>
                    <a:pt x="21334" y="0"/>
                    <a:pt x="21454" y="153"/>
                    <a:pt x="21484" y="384"/>
                  </a:cubicBezTo>
                  <a:cubicBezTo>
                    <a:pt x="21574" y="21063"/>
                    <a:pt x="21574" y="21063"/>
                    <a:pt x="21574" y="21063"/>
                  </a:cubicBezTo>
                  <a:cubicBezTo>
                    <a:pt x="21574" y="21293"/>
                    <a:pt x="21424" y="21447"/>
                    <a:pt x="21274" y="21447"/>
                  </a:cubicBezTo>
                  <a:close/>
                  <a:moveTo>
                    <a:pt x="664" y="20833"/>
                  </a:moveTo>
                  <a:cubicBezTo>
                    <a:pt x="20974" y="20718"/>
                    <a:pt x="20974" y="20718"/>
                    <a:pt x="20974" y="20718"/>
                  </a:cubicBezTo>
                  <a:cubicBezTo>
                    <a:pt x="20884" y="767"/>
                    <a:pt x="20884" y="767"/>
                    <a:pt x="20884" y="767"/>
                  </a:cubicBezTo>
                  <a:cubicBezTo>
                    <a:pt x="574" y="882"/>
                    <a:pt x="574" y="882"/>
                    <a:pt x="574" y="882"/>
                  </a:cubicBezTo>
                  <a:lnTo>
                    <a:pt x="664" y="20833"/>
                  </a:ln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56" name="Shape 8256"/>
            <p:cNvSpPr/>
            <p:nvPr/>
          </p:nvSpPr>
          <p:spPr>
            <a:xfrm>
              <a:off x="-1" y="-1"/>
              <a:ext cx="2197363" cy="19991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40" h="21537" extrusionOk="0">
                  <a:moveTo>
                    <a:pt x="20937" y="20094"/>
                  </a:moveTo>
                  <a:cubicBezTo>
                    <a:pt x="5470" y="20186"/>
                    <a:pt x="5470" y="20186"/>
                    <a:pt x="5470" y="20186"/>
                  </a:cubicBezTo>
                  <a:cubicBezTo>
                    <a:pt x="6489" y="19063"/>
                    <a:pt x="6489" y="19063"/>
                    <a:pt x="6489" y="19063"/>
                  </a:cubicBezTo>
                  <a:cubicBezTo>
                    <a:pt x="6593" y="18949"/>
                    <a:pt x="6655" y="18765"/>
                    <a:pt x="6655" y="18605"/>
                  </a:cubicBezTo>
                  <a:cubicBezTo>
                    <a:pt x="6593" y="6511"/>
                    <a:pt x="6593" y="6511"/>
                    <a:pt x="6593" y="6511"/>
                  </a:cubicBezTo>
                  <a:cubicBezTo>
                    <a:pt x="6593" y="6351"/>
                    <a:pt x="6530" y="6167"/>
                    <a:pt x="6426" y="6053"/>
                  </a:cubicBezTo>
                  <a:cubicBezTo>
                    <a:pt x="1042" y="189"/>
                    <a:pt x="1042" y="189"/>
                    <a:pt x="1042" y="189"/>
                  </a:cubicBezTo>
                  <a:cubicBezTo>
                    <a:pt x="792" y="-63"/>
                    <a:pt x="418" y="-63"/>
                    <a:pt x="169" y="189"/>
                  </a:cubicBezTo>
                  <a:cubicBezTo>
                    <a:pt x="-60" y="464"/>
                    <a:pt x="-60" y="876"/>
                    <a:pt x="189" y="1151"/>
                  </a:cubicBezTo>
                  <a:cubicBezTo>
                    <a:pt x="5387" y="6809"/>
                    <a:pt x="5387" y="6809"/>
                    <a:pt x="5387" y="6809"/>
                  </a:cubicBezTo>
                  <a:cubicBezTo>
                    <a:pt x="5449" y="18330"/>
                    <a:pt x="5449" y="18330"/>
                    <a:pt x="5449" y="18330"/>
                  </a:cubicBezTo>
                  <a:cubicBezTo>
                    <a:pt x="3578" y="20392"/>
                    <a:pt x="3578" y="20392"/>
                    <a:pt x="3578" y="20392"/>
                  </a:cubicBezTo>
                  <a:cubicBezTo>
                    <a:pt x="3391" y="20598"/>
                    <a:pt x="3349" y="20873"/>
                    <a:pt x="3453" y="21125"/>
                  </a:cubicBezTo>
                  <a:cubicBezTo>
                    <a:pt x="3537" y="21377"/>
                    <a:pt x="3765" y="21537"/>
                    <a:pt x="4015" y="21537"/>
                  </a:cubicBezTo>
                  <a:cubicBezTo>
                    <a:pt x="5865" y="21537"/>
                    <a:pt x="5865" y="21537"/>
                    <a:pt x="5865" y="21537"/>
                  </a:cubicBezTo>
                  <a:cubicBezTo>
                    <a:pt x="6385" y="20941"/>
                    <a:pt x="7112" y="20575"/>
                    <a:pt x="7923" y="20575"/>
                  </a:cubicBezTo>
                  <a:cubicBezTo>
                    <a:pt x="8734" y="20552"/>
                    <a:pt x="9461" y="20919"/>
                    <a:pt x="10002" y="21514"/>
                  </a:cubicBezTo>
                  <a:cubicBezTo>
                    <a:pt x="16239" y="21468"/>
                    <a:pt x="16239" y="21468"/>
                    <a:pt x="16239" y="21468"/>
                  </a:cubicBezTo>
                  <a:cubicBezTo>
                    <a:pt x="16758" y="20873"/>
                    <a:pt x="17507" y="20506"/>
                    <a:pt x="18297" y="20506"/>
                  </a:cubicBezTo>
                  <a:cubicBezTo>
                    <a:pt x="19108" y="20506"/>
                    <a:pt x="19835" y="20850"/>
                    <a:pt x="20376" y="21445"/>
                  </a:cubicBezTo>
                  <a:cubicBezTo>
                    <a:pt x="20937" y="21445"/>
                    <a:pt x="20937" y="21445"/>
                    <a:pt x="20937" y="21445"/>
                  </a:cubicBezTo>
                  <a:cubicBezTo>
                    <a:pt x="21270" y="21445"/>
                    <a:pt x="21540" y="21125"/>
                    <a:pt x="21540" y="20758"/>
                  </a:cubicBezTo>
                  <a:cubicBezTo>
                    <a:pt x="21540" y="20392"/>
                    <a:pt x="21270" y="20094"/>
                    <a:pt x="20937" y="20094"/>
                  </a:cubicBez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57" name="Shape 8257"/>
            <p:cNvSpPr/>
            <p:nvPr/>
          </p:nvSpPr>
          <p:spPr>
            <a:xfrm>
              <a:off x="1575569" y="1935665"/>
              <a:ext cx="589536" cy="5932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8" h="21524" extrusionOk="0">
                  <a:moveTo>
                    <a:pt x="10801" y="21523"/>
                  </a:moveTo>
                  <a:cubicBezTo>
                    <a:pt x="4861" y="21600"/>
                    <a:pt x="1" y="16740"/>
                    <a:pt x="1" y="10877"/>
                  </a:cubicBezTo>
                  <a:cubicBezTo>
                    <a:pt x="-76" y="4937"/>
                    <a:pt x="4707" y="77"/>
                    <a:pt x="10647" y="0"/>
                  </a:cubicBezTo>
                  <a:cubicBezTo>
                    <a:pt x="16587" y="0"/>
                    <a:pt x="21447" y="4783"/>
                    <a:pt x="21447" y="10723"/>
                  </a:cubicBezTo>
                  <a:cubicBezTo>
                    <a:pt x="21524" y="16663"/>
                    <a:pt x="16741" y="21523"/>
                    <a:pt x="10801" y="21523"/>
                  </a:cubicBezTo>
                  <a:close/>
                  <a:moveTo>
                    <a:pt x="10724" y="6557"/>
                  </a:moveTo>
                  <a:cubicBezTo>
                    <a:pt x="8333" y="6557"/>
                    <a:pt x="6481" y="8486"/>
                    <a:pt x="6481" y="10800"/>
                  </a:cubicBezTo>
                  <a:cubicBezTo>
                    <a:pt x="6481" y="13114"/>
                    <a:pt x="8410" y="15043"/>
                    <a:pt x="10724" y="15043"/>
                  </a:cubicBezTo>
                  <a:cubicBezTo>
                    <a:pt x="13115" y="15043"/>
                    <a:pt x="14967" y="13114"/>
                    <a:pt x="14967" y="10723"/>
                  </a:cubicBezTo>
                  <a:cubicBezTo>
                    <a:pt x="14967" y="8409"/>
                    <a:pt x="13038" y="6480"/>
                    <a:pt x="10724" y="6557"/>
                  </a:cubicBez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58" name="Shape 8258"/>
            <p:cNvSpPr/>
            <p:nvPr/>
          </p:nvSpPr>
          <p:spPr>
            <a:xfrm>
              <a:off x="513024" y="1942015"/>
              <a:ext cx="591631" cy="59213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24" h="21600" extrusionOk="0">
                  <a:moveTo>
                    <a:pt x="10877" y="21600"/>
                  </a:moveTo>
                  <a:cubicBezTo>
                    <a:pt x="4937" y="21600"/>
                    <a:pt x="77" y="16800"/>
                    <a:pt x="0" y="10839"/>
                  </a:cubicBezTo>
                  <a:cubicBezTo>
                    <a:pt x="0" y="4955"/>
                    <a:pt x="4783" y="77"/>
                    <a:pt x="10723" y="0"/>
                  </a:cubicBezTo>
                  <a:cubicBezTo>
                    <a:pt x="16663" y="0"/>
                    <a:pt x="21523" y="4800"/>
                    <a:pt x="21523" y="10761"/>
                  </a:cubicBezTo>
                  <a:cubicBezTo>
                    <a:pt x="21600" y="16723"/>
                    <a:pt x="16817" y="21600"/>
                    <a:pt x="10877" y="21600"/>
                  </a:cubicBezTo>
                  <a:close/>
                  <a:moveTo>
                    <a:pt x="10800" y="6503"/>
                  </a:moveTo>
                  <a:cubicBezTo>
                    <a:pt x="8409" y="6581"/>
                    <a:pt x="6557" y="8516"/>
                    <a:pt x="6557" y="10839"/>
                  </a:cubicBezTo>
                  <a:cubicBezTo>
                    <a:pt x="6557" y="13161"/>
                    <a:pt x="8486" y="15097"/>
                    <a:pt x="10800" y="15097"/>
                  </a:cubicBezTo>
                  <a:cubicBezTo>
                    <a:pt x="13191" y="15097"/>
                    <a:pt x="15043" y="13161"/>
                    <a:pt x="15043" y="10761"/>
                  </a:cubicBezTo>
                  <a:cubicBezTo>
                    <a:pt x="15043" y="8439"/>
                    <a:pt x="13114" y="6503"/>
                    <a:pt x="10800" y="6503"/>
                  </a:cubicBez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59" name="Shape 8259"/>
            <p:cNvSpPr/>
            <p:nvPr/>
          </p:nvSpPr>
          <p:spPr>
            <a:xfrm>
              <a:off x="990861" y="629153"/>
              <a:ext cx="22226" cy="11064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6171" y="21600"/>
                  </a:lnTo>
                  <a:lnTo>
                    <a:pt x="0" y="0"/>
                  </a:lnTo>
                  <a:lnTo>
                    <a:pt x="15429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60" name="Shape 8260"/>
            <p:cNvSpPr/>
            <p:nvPr/>
          </p:nvSpPr>
          <p:spPr>
            <a:xfrm>
              <a:off x="1251211" y="627566"/>
              <a:ext cx="23814" cy="11049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5760" y="21600"/>
                  </a:lnTo>
                  <a:lnTo>
                    <a:pt x="0" y="0"/>
                  </a:lnTo>
                  <a:lnTo>
                    <a:pt x="1584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61" name="Shape 8261"/>
            <p:cNvSpPr/>
            <p:nvPr/>
          </p:nvSpPr>
          <p:spPr>
            <a:xfrm>
              <a:off x="1492511" y="625978"/>
              <a:ext cx="25401" cy="11064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569"/>
                  </a:moveTo>
                  <a:lnTo>
                    <a:pt x="5400" y="21600"/>
                  </a:lnTo>
                  <a:lnTo>
                    <a:pt x="0" y="0"/>
                  </a:lnTo>
                  <a:lnTo>
                    <a:pt x="16200" y="0"/>
                  </a:lnTo>
                  <a:lnTo>
                    <a:pt x="21600" y="21569"/>
                  </a:ln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62" name="Shape 8262"/>
            <p:cNvSpPr/>
            <p:nvPr/>
          </p:nvSpPr>
          <p:spPr>
            <a:xfrm>
              <a:off x="1736986" y="625977"/>
              <a:ext cx="22226" cy="11049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6171" y="21600"/>
                  </a:lnTo>
                  <a:lnTo>
                    <a:pt x="0" y="0"/>
                  </a:lnTo>
                  <a:lnTo>
                    <a:pt x="15429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63" name="Shape 8263"/>
            <p:cNvSpPr/>
            <p:nvPr/>
          </p:nvSpPr>
          <p:spPr>
            <a:xfrm>
              <a:off x="1973524" y="622803"/>
              <a:ext cx="23814" cy="11064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21600"/>
                  </a:moveTo>
                  <a:lnTo>
                    <a:pt x="4320" y="21600"/>
                  </a:lnTo>
                  <a:lnTo>
                    <a:pt x="0" y="0"/>
                  </a:lnTo>
                  <a:lnTo>
                    <a:pt x="15840" y="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BFBFBF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</p:grpSp>
      <p:grpSp>
        <p:nvGrpSpPr>
          <p:cNvPr id="8283" name="Group 8283"/>
          <p:cNvGrpSpPr/>
          <p:nvPr/>
        </p:nvGrpSpPr>
        <p:grpSpPr>
          <a:xfrm>
            <a:off x="2569157" y="2575278"/>
            <a:ext cx="1471289" cy="1592674"/>
            <a:chOff x="0" y="0"/>
            <a:chExt cx="1471288" cy="1592673"/>
          </a:xfrm>
        </p:grpSpPr>
        <p:sp>
          <p:nvSpPr>
            <p:cNvPr id="8265" name="Shape 8265"/>
            <p:cNvSpPr/>
            <p:nvPr/>
          </p:nvSpPr>
          <p:spPr>
            <a:xfrm flipH="1">
              <a:off x="1069054" y="511386"/>
              <a:ext cx="402235" cy="3295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207" h="14636" extrusionOk="0">
                  <a:moveTo>
                    <a:pt x="11075" y="4151"/>
                  </a:moveTo>
                  <a:cubicBezTo>
                    <a:pt x="11075" y="4151"/>
                    <a:pt x="5104" y="11871"/>
                    <a:pt x="2470" y="12339"/>
                  </a:cubicBezTo>
                  <a:cubicBezTo>
                    <a:pt x="2470" y="12339"/>
                    <a:pt x="-1130" y="12651"/>
                    <a:pt x="363" y="13353"/>
                  </a:cubicBezTo>
                  <a:cubicBezTo>
                    <a:pt x="363" y="13353"/>
                    <a:pt x="3172" y="15692"/>
                    <a:pt x="11075" y="14054"/>
                  </a:cubicBezTo>
                  <a:cubicBezTo>
                    <a:pt x="11075" y="14054"/>
                    <a:pt x="13972" y="8284"/>
                    <a:pt x="15904" y="7660"/>
                  </a:cubicBezTo>
                  <a:cubicBezTo>
                    <a:pt x="15904" y="13509"/>
                    <a:pt x="15904" y="13509"/>
                    <a:pt x="15904" y="13509"/>
                  </a:cubicBezTo>
                  <a:cubicBezTo>
                    <a:pt x="18363" y="12963"/>
                    <a:pt x="18363" y="12963"/>
                    <a:pt x="18363" y="12963"/>
                  </a:cubicBezTo>
                  <a:cubicBezTo>
                    <a:pt x="18363" y="12963"/>
                    <a:pt x="18538" y="7816"/>
                    <a:pt x="20207" y="5477"/>
                  </a:cubicBezTo>
                  <a:cubicBezTo>
                    <a:pt x="20207" y="5477"/>
                    <a:pt x="20470" y="-5908"/>
                    <a:pt x="11075" y="4151"/>
                  </a:cubicBezTo>
                  <a:close/>
                  <a:moveTo>
                    <a:pt x="17397" y="1188"/>
                  </a:moveTo>
                  <a:cubicBezTo>
                    <a:pt x="15729" y="3683"/>
                    <a:pt x="8792" y="11247"/>
                    <a:pt x="8792" y="11247"/>
                  </a:cubicBezTo>
                  <a:cubicBezTo>
                    <a:pt x="2821" y="12807"/>
                    <a:pt x="6070" y="10467"/>
                    <a:pt x="6070" y="10467"/>
                  </a:cubicBezTo>
                  <a:cubicBezTo>
                    <a:pt x="7475" y="9922"/>
                    <a:pt x="12831" y="2748"/>
                    <a:pt x="12831" y="2748"/>
                  </a:cubicBezTo>
                  <a:cubicBezTo>
                    <a:pt x="17660" y="-1385"/>
                    <a:pt x="17397" y="1188"/>
                    <a:pt x="17397" y="1188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grpSp>
          <p:nvGrpSpPr>
            <p:cNvPr id="8272" name="Group 8272"/>
            <p:cNvGrpSpPr/>
            <p:nvPr/>
          </p:nvGrpSpPr>
          <p:grpSpPr>
            <a:xfrm>
              <a:off x="810584" y="660200"/>
              <a:ext cx="227077" cy="427339"/>
              <a:chOff x="0" y="0"/>
              <a:chExt cx="227076" cy="427338"/>
            </a:xfrm>
          </p:grpSpPr>
          <p:sp>
            <p:nvSpPr>
              <p:cNvPr id="8266" name="Shape 8266"/>
              <p:cNvSpPr/>
              <p:nvPr/>
            </p:nvSpPr>
            <p:spPr>
              <a:xfrm flipH="1">
                <a:off x="-1" y="0"/>
                <a:ext cx="227078" cy="42733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335" h="21600" extrusionOk="0">
                    <a:moveTo>
                      <a:pt x="16322" y="6133"/>
                    </a:moveTo>
                    <a:cubicBezTo>
                      <a:pt x="16635" y="622"/>
                      <a:pt x="16635" y="622"/>
                      <a:pt x="16635" y="622"/>
                    </a:cubicBezTo>
                    <a:cubicBezTo>
                      <a:pt x="11001" y="0"/>
                      <a:pt x="11001" y="0"/>
                      <a:pt x="11001" y="0"/>
                    </a:cubicBezTo>
                    <a:cubicBezTo>
                      <a:pt x="7557" y="5156"/>
                      <a:pt x="7557" y="5156"/>
                      <a:pt x="7557" y="5156"/>
                    </a:cubicBezTo>
                    <a:cubicBezTo>
                      <a:pt x="3957" y="5689"/>
                      <a:pt x="983" y="7378"/>
                      <a:pt x="201" y="9600"/>
                    </a:cubicBezTo>
                    <a:cubicBezTo>
                      <a:pt x="-582" y="11822"/>
                      <a:pt x="983" y="14044"/>
                      <a:pt x="3957" y="15289"/>
                    </a:cubicBezTo>
                    <a:cubicBezTo>
                      <a:pt x="3644" y="20889"/>
                      <a:pt x="3644" y="20889"/>
                      <a:pt x="3644" y="20889"/>
                    </a:cubicBezTo>
                    <a:cubicBezTo>
                      <a:pt x="9435" y="21600"/>
                      <a:pt x="9435" y="21600"/>
                      <a:pt x="9435" y="21600"/>
                    </a:cubicBezTo>
                    <a:cubicBezTo>
                      <a:pt x="12722" y="16356"/>
                      <a:pt x="12722" y="16356"/>
                      <a:pt x="12722" y="16356"/>
                    </a:cubicBezTo>
                    <a:cubicBezTo>
                      <a:pt x="16322" y="15822"/>
                      <a:pt x="19296" y="14133"/>
                      <a:pt x="20079" y="11911"/>
                    </a:cubicBezTo>
                    <a:cubicBezTo>
                      <a:pt x="21018" y="9689"/>
                      <a:pt x="19296" y="7467"/>
                      <a:pt x="16322" y="6133"/>
                    </a:cubicBezTo>
                    <a:close/>
                    <a:moveTo>
                      <a:pt x="8496" y="14933"/>
                    </a:moveTo>
                    <a:cubicBezTo>
                      <a:pt x="4270" y="14489"/>
                      <a:pt x="1453" y="12178"/>
                      <a:pt x="2392" y="9778"/>
                    </a:cubicBezTo>
                    <a:cubicBezTo>
                      <a:pt x="3175" y="7378"/>
                      <a:pt x="7401" y="5778"/>
                      <a:pt x="11627" y="6311"/>
                    </a:cubicBezTo>
                    <a:cubicBezTo>
                      <a:pt x="15853" y="6756"/>
                      <a:pt x="18514" y="9067"/>
                      <a:pt x="17575" y="11467"/>
                    </a:cubicBezTo>
                    <a:cubicBezTo>
                      <a:pt x="16792" y="13867"/>
                      <a:pt x="12722" y="15467"/>
                      <a:pt x="8496" y="1493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67" name="Shape 8267"/>
              <p:cNvSpPr/>
              <p:nvPr/>
            </p:nvSpPr>
            <p:spPr>
              <a:xfrm flipH="1">
                <a:off x="99984" y="154680"/>
                <a:ext cx="54945" cy="11797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054" h="21600" extrusionOk="0">
                    <a:moveTo>
                      <a:pt x="16200" y="8060"/>
                    </a:moveTo>
                    <a:cubicBezTo>
                      <a:pt x="15525" y="8060"/>
                      <a:pt x="14850" y="8060"/>
                      <a:pt x="14175" y="8060"/>
                    </a:cubicBezTo>
                    <a:cubicBezTo>
                      <a:pt x="3375" y="0"/>
                      <a:pt x="3375" y="0"/>
                      <a:pt x="3375" y="0"/>
                    </a:cubicBezTo>
                    <a:cubicBezTo>
                      <a:pt x="0" y="967"/>
                      <a:pt x="0" y="967"/>
                      <a:pt x="0" y="967"/>
                    </a:cubicBezTo>
                    <a:cubicBezTo>
                      <a:pt x="10125" y="9027"/>
                      <a:pt x="10125" y="9027"/>
                      <a:pt x="10125" y="9027"/>
                    </a:cubicBezTo>
                    <a:cubicBezTo>
                      <a:pt x="10125" y="9349"/>
                      <a:pt x="9450" y="9672"/>
                      <a:pt x="9450" y="9994"/>
                    </a:cubicBezTo>
                    <a:cubicBezTo>
                      <a:pt x="8775" y="11284"/>
                      <a:pt x="10125" y="12251"/>
                      <a:pt x="11475" y="12896"/>
                    </a:cubicBezTo>
                    <a:cubicBezTo>
                      <a:pt x="8100" y="20955"/>
                      <a:pt x="8100" y="20955"/>
                      <a:pt x="8100" y="20955"/>
                    </a:cubicBezTo>
                    <a:cubicBezTo>
                      <a:pt x="12150" y="21600"/>
                      <a:pt x="12150" y="21600"/>
                      <a:pt x="12150" y="21600"/>
                    </a:cubicBezTo>
                    <a:cubicBezTo>
                      <a:pt x="16200" y="13218"/>
                      <a:pt x="16200" y="13218"/>
                      <a:pt x="16200" y="13218"/>
                    </a:cubicBezTo>
                    <a:cubicBezTo>
                      <a:pt x="18225" y="13218"/>
                      <a:pt x="20250" y="12251"/>
                      <a:pt x="20925" y="11284"/>
                    </a:cubicBezTo>
                    <a:cubicBezTo>
                      <a:pt x="21600" y="9672"/>
                      <a:pt x="19575" y="8382"/>
                      <a:pt x="16200" y="806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68" name="Shape 8268"/>
              <p:cNvSpPr/>
              <p:nvPr/>
            </p:nvSpPr>
            <p:spPr>
              <a:xfrm flipH="1">
                <a:off x="184501" y="193679"/>
                <a:ext cx="12701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412" h="19412" extrusionOk="0">
                    <a:moveTo>
                      <a:pt x="10800" y="0"/>
                    </a:moveTo>
                    <a:cubicBezTo>
                      <a:pt x="7200" y="0"/>
                      <a:pt x="0" y="3600"/>
                      <a:pt x="0" y="7200"/>
                    </a:cubicBezTo>
                    <a:cubicBezTo>
                      <a:pt x="0" y="14400"/>
                      <a:pt x="3600" y="18000"/>
                      <a:pt x="7200" y="18000"/>
                    </a:cubicBezTo>
                    <a:cubicBezTo>
                      <a:pt x="14400" y="21600"/>
                      <a:pt x="18000" y="18000"/>
                      <a:pt x="18000" y="10800"/>
                    </a:cubicBezTo>
                    <a:cubicBezTo>
                      <a:pt x="21600" y="7200"/>
                      <a:pt x="18000" y="0"/>
                      <a:pt x="1080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69" name="Shape 8269"/>
              <p:cNvSpPr/>
              <p:nvPr/>
            </p:nvSpPr>
            <p:spPr>
              <a:xfrm flipH="1">
                <a:off x="124202" y="281257"/>
                <a:ext cx="12701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412" h="19412" extrusionOk="0">
                    <a:moveTo>
                      <a:pt x="10800" y="1412"/>
                    </a:moveTo>
                    <a:cubicBezTo>
                      <a:pt x="7200" y="-2188"/>
                      <a:pt x="0" y="1412"/>
                      <a:pt x="0" y="8612"/>
                    </a:cubicBezTo>
                    <a:cubicBezTo>
                      <a:pt x="0" y="12212"/>
                      <a:pt x="3600" y="19412"/>
                      <a:pt x="7200" y="19412"/>
                    </a:cubicBezTo>
                    <a:cubicBezTo>
                      <a:pt x="14400" y="19412"/>
                      <a:pt x="18000" y="15812"/>
                      <a:pt x="18000" y="12212"/>
                    </a:cubicBezTo>
                    <a:cubicBezTo>
                      <a:pt x="21600" y="5012"/>
                      <a:pt x="18000" y="1412"/>
                      <a:pt x="10800" y="141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70" name="Shape 8270"/>
              <p:cNvSpPr/>
              <p:nvPr/>
            </p:nvSpPr>
            <p:spPr>
              <a:xfrm flipH="1">
                <a:off x="34533" y="224360"/>
                <a:ext cx="12701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4400" y="0"/>
                    </a:moveTo>
                    <a:cubicBezTo>
                      <a:pt x="7200" y="0"/>
                      <a:pt x="3600" y="3600"/>
                      <a:pt x="0" y="7200"/>
                    </a:cubicBezTo>
                    <a:cubicBezTo>
                      <a:pt x="0" y="14400"/>
                      <a:pt x="3600" y="18000"/>
                      <a:pt x="10800" y="21600"/>
                    </a:cubicBezTo>
                    <a:cubicBezTo>
                      <a:pt x="14400" y="21600"/>
                      <a:pt x="21600" y="18000"/>
                      <a:pt x="21600" y="14400"/>
                    </a:cubicBezTo>
                    <a:cubicBezTo>
                      <a:pt x="21600" y="7200"/>
                      <a:pt x="18000" y="3600"/>
                      <a:pt x="1440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71" name="Shape 8271"/>
              <p:cNvSpPr/>
              <p:nvPr/>
            </p:nvSpPr>
            <p:spPr>
              <a:xfrm flipH="1">
                <a:off x="94301" y="127356"/>
                <a:ext cx="12701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412" h="21600" extrusionOk="0">
                    <a:moveTo>
                      <a:pt x="8612" y="21600"/>
                    </a:moveTo>
                    <a:cubicBezTo>
                      <a:pt x="12212" y="21600"/>
                      <a:pt x="19412" y="18000"/>
                      <a:pt x="19412" y="14400"/>
                    </a:cubicBezTo>
                    <a:cubicBezTo>
                      <a:pt x="19412" y="7200"/>
                      <a:pt x="15812" y="3600"/>
                      <a:pt x="12212" y="0"/>
                    </a:cubicBezTo>
                    <a:cubicBezTo>
                      <a:pt x="8612" y="0"/>
                      <a:pt x="1412" y="3600"/>
                      <a:pt x="1412" y="10800"/>
                    </a:cubicBezTo>
                    <a:cubicBezTo>
                      <a:pt x="-2188" y="14400"/>
                      <a:pt x="1412" y="21600"/>
                      <a:pt x="8612" y="2160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</p:grpSp>
        <p:sp>
          <p:nvSpPr>
            <p:cNvPr id="8273" name="Shape 8273"/>
            <p:cNvSpPr/>
            <p:nvPr/>
          </p:nvSpPr>
          <p:spPr>
            <a:xfrm flipH="1">
              <a:off x="290991" y="979327"/>
              <a:ext cx="390810" cy="3317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253" h="21190" extrusionOk="0">
                  <a:moveTo>
                    <a:pt x="13815" y="13183"/>
                  </a:moveTo>
                  <a:cubicBezTo>
                    <a:pt x="12197" y="13970"/>
                    <a:pt x="10199" y="13070"/>
                    <a:pt x="9533" y="11158"/>
                  </a:cubicBezTo>
                  <a:cubicBezTo>
                    <a:pt x="8771" y="9245"/>
                    <a:pt x="9533" y="6995"/>
                    <a:pt x="11150" y="6095"/>
                  </a:cubicBezTo>
                  <a:cubicBezTo>
                    <a:pt x="12863" y="5195"/>
                    <a:pt x="14766" y="6095"/>
                    <a:pt x="15432" y="8120"/>
                  </a:cubicBezTo>
                  <a:cubicBezTo>
                    <a:pt x="16194" y="10033"/>
                    <a:pt x="15432" y="12283"/>
                    <a:pt x="13815" y="13183"/>
                  </a:cubicBezTo>
                  <a:close/>
                  <a:moveTo>
                    <a:pt x="10865" y="5195"/>
                  </a:moveTo>
                  <a:cubicBezTo>
                    <a:pt x="8771" y="6320"/>
                    <a:pt x="7820" y="9133"/>
                    <a:pt x="8771" y="11608"/>
                  </a:cubicBezTo>
                  <a:cubicBezTo>
                    <a:pt x="9723" y="13970"/>
                    <a:pt x="12102" y="15095"/>
                    <a:pt x="14100" y="13970"/>
                  </a:cubicBezTo>
                  <a:cubicBezTo>
                    <a:pt x="16194" y="12958"/>
                    <a:pt x="17145" y="10145"/>
                    <a:pt x="16194" y="7670"/>
                  </a:cubicBezTo>
                  <a:cubicBezTo>
                    <a:pt x="15337" y="5308"/>
                    <a:pt x="12863" y="4183"/>
                    <a:pt x="10865" y="5195"/>
                  </a:cubicBezTo>
                  <a:close/>
                  <a:moveTo>
                    <a:pt x="16194" y="2945"/>
                  </a:moveTo>
                  <a:cubicBezTo>
                    <a:pt x="15813" y="3170"/>
                    <a:pt x="15337" y="2945"/>
                    <a:pt x="15147" y="2495"/>
                  </a:cubicBezTo>
                  <a:cubicBezTo>
                    <a:pt x="14957" y="1933"/>
                    <a:pt x="15147" y="1370"/>
                    <a:pt x="15527" y="1145"/>
                  </a:cubicBezTo>
                  <a:cubicBezTo>
                    <a:pt x="16003" y="920"/>
                    <a:pt x="16479" y="1145"/>
                    <a:pt x="16669" y="1708"/>
                  </a:cubicBezTo>
                  <a:cubicBezTo>
                    <a:pt x="16860" y="2158"/>
                    <a:pt x="16669" y="2720"/>
                    <a:pt x="16194" y="2945"/>
                  </a:cubicBezTo>
                  <a:close/>
                  <a:moveTo>
                    <a:pt x="14481" y="14870"/>
                  </a:moveTo>
                  <a:cubicBezTo>
                    <a:pt x="12007" y="16220"/>
                    <a:pt x="9152" y="14870"/>
                    <a:pt x="8010" y="11945"/>
                  </a:cubicBezTo>
                  <a:cubicBezTo>
                    <a:pt x="6964" y="9020"/>
                    <a:pt x="8010" y="5645"/>
                    <a:pt x="10484" y="4295"/>
                  </a:cubicBezTo>
                  <a:cubicBezTo>
                    <a:pt x="12958" y="3058"/>
                    <a:pt x="15908" y="4408"/>
                    <a:pt x="16955" y="7333"/>
                  </a:cubicBezTo>
                  <a:cubicBezTo>
                    <a:pt x="18001" y="10257"/>
                    <a:pt x="16955" y="13633"/>
                    <a:pt x="14481" y="14870"/>
                  </a:cubicBezTo>
                  <a:close/>
                  <a:moveTo>
                    <a:pt x="5441" y="8570"/>
                  </a:moveTo>
                  <a:cubicBezTo>
                    <a:pt x="5536" y="8795"/>
                    <a:pt x="5441" y="9133"/>
                    <a:pt x="5251" y="9245"/>
                  </a:cubicBezTo>
                  <a:cubicBezTo>
                    <a:pt x="2206" y="10820"/>
                    <a:pt x="2206" y="10820"/>
                    <a:pt x="2206" y="10820"/>
                  </a:cubicBezTo>
                  <a:cubicBezTo>
                    <a:pt x="2016" y="10820"/>
                    <a:pt x="1825" y="10820"/>
                    <a:pt x="1730" y="10483"/>
                  </a:cubicBezTo>
                  <a:cubicBezTo>
                    <a:pt x="1349" y="9695"/>
                    <a:pt x="1349" y="9695"/>
                    <a:pt x="1349" y="9695"/>
                  </a:cubicBezTo>
                  <a:cubicBezTo>
                    <a:pt x="1254" y="9358"/>
                    <a:pt x="1349" y="9133"/>
                    <a:pt x="1635" y="9020"/>
                  </a:cubicBezTo>
                  <a:cubicBezTo>
                    <a:pt x="4585" y="7445"/>
                    <a:pt x="4585" y="7445"/>
                    <a:pt x="4585" y="7445"/>
                  </a:cubicBezTo>
                  <a:cubicBezTo>
                    <a:pt x="4775" y="7333"/>
                    <a:pt x="4965" y="7445"/>
                    <a:pt x="5060" y="7670"/>
                  </a:cubicBezTo>
                  <a:lnTo>
                    <a:pt x="5441" y="8570"/>
                  </a:lnTo>
                  <a:close/>
                  <a:moveTo>
                    <a:pt x="15623" y="133"/>
                  </a:moveTo>
                  <a:cubicBezTo>
                    <a:pt x="5156" y="5533"/>
                    <a:pt x="5156" y="5533"/>
                    <a:pt x="5156" y="5533"/>
                  </a:cubicBezTo>
                  <a:cubicBezTo>
                    <a:pt x="5346" y="5983"/>
                    <a:pt x="5346" y="5983"/>
                    <a:pt x="5346" y="5983"/>
                  </a:cubicBezTo>
                  <a:cubicBezTo>
                    <a:pt x="1635" y="7895"/>
                    <a:pt x="1635" y="7895"/>
                    <a:pt x="1635" y="7895"/>
                  </a:cubicBezTo>
                  <a:cubicBezTo>
                    <a:pt x="1445" y="7445"/>
                    <a:pt x="1445" y="7445"/>
                    <a:pt x="1445" y="7445"/>
                  </a:cubicBezTo>
                  <a:cubicBezTo>
                    <a:pt x="683" y="7895"/>
                    <a:pt x="683" y="7895"/>
                    <a:pt x="683" y="7895"/>
                  </a:cubicBezTo>
                  <a:cubicBezTo>
                    <a:pt x="112" y="8233"/>
                    <a:pt x="-173" y="9020"/>
                    <a:pt x="112" y="9808"/>
                  </a:cubicBezTo>
                  <a:cubicBezTo>
                    <a:pt x="4014" y="20382"/>
                    <a:pt x="4014" y="20382"/>
                    <a:pt x="4014" y="20382"/>
                  </a:cubicBezTo>
                  <a:cubicBezTo>
                    <a:pt x="4299" y="21058"/>
                    <a:pt x="5060" y="21395"/>
                    <a:pt x="5631" y="21058"/>
                  </a:cubicBezTo>
                  <a:cubicBezTo>
                    <a:pt x="20571" y="13295"/>
                    <a:pt x="20571" y="13295"/>
                    <a:pt x="20571" y="13295"/>
                  </a:cubicBezTo>
                  <a:cubicBezTo>
                    <a:pt x="21142" y="12958"/>
                    <a:pt x="21427" y="12170"/>
                    <a:pt x="21142" y="11383"/>
                  </a:cubicBezTo>
                  <a:cubicBezTo>
                    <a:pt x="17240" y="808"/>
                    <a:pt x="17240" y="808"/>
                    <a:pt x="17240" y="808"/>
                  </a:cubicBezTo>
                  <a:cubicBezTo>
                    <a:pt x="16955" y="133"/>
                    <a:pt x="16194" y="-205"/>
                    <a:pt x="15623" y="133"/>
                  </a:cubicBezTo>
                  <a:close/>
                  <a:moveTo>
                    <a:pt x="4680" y="5308"/>
                  </a:moveTo>
                  <a:cubicBezTo>
                    <a:pt x="4585" y="5083"/>
                    <a:pt x="4299" y="4970"/>
                    <a:pt x="4109" y="5083"/>
                  </a:cubicBezTo>
                  <a:cubicBezTo>
                    <a:pt x="1920" y="6208"/>
                    <a:pt x="1920" y="6208"/>
                    <a:pt x="1920" y="6208"/>
                  </a:cubicBezTo>
                  <a:cubicBezTo>
                    <a:pt x="1635" y="6320"/>
                    <a:pt x="1540" y="6658"/>
                    <a:pt x="1635" y="6883"/>
                  </a:cubicBezTo>
                  <a:cubicBezTo>
                    <a:pt x="1825" y="7333"/>
                    <a:pt x="1825" y="7333"/>
                    <a:pt x="1825" y="7333"/>
                  </a:cubicBezTo>
                  <a:cubicBezTo>
                    <a:pt x="4775" y="5758"/>
                    <a:pt x="4775" y="5758"/>
                    <a:pt x="4775" y="5758"/>
                  </a:cubicBezTo>
                  <a:lnTo>
                    <a:pt x="4680" y="5308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74" name="Shape 8274"/>
            <p:cNvSpPr/>
            <p:nvPr/>
          </p:nvSpPr>
          <p:spPr>
            <a:xfrm flipH="1">
              <a:off x="768561" y="199722"/>
              <a:ext cx="310489" cy="3485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97" h="20884" extrusionOk="0">
                  <a:moveTo>
                    <a:pt x="11706" y="6267"/>
                  </a:moveTo>
                  <a:cubicBezTo>
                    <a:pt x="15345" y="8269"/>
                    <a:pt x="15345" y="8269"/>
                    <a:pt x="15345" y="8269"/>
                  </a:cubicBezTo>
                  <a:cubicBezTo>
                    <a:pt x="14993" y="9007"/>
                    <a:pt x="14993" y="9007"/>
                    <a:pt x="14993" y="9007"/>
                  </a:cubicBezTo>
                  <a:cubicBezTo>
                    <a:pt x="11237" y="6899"/>
                    <a:pt x="11237" y="6899"/>
                    <a:pt x="11237" y="6899"/>
                  </a:cubicBezTo>
                  <a:lnTo>
                    <a:pt x="11706" y="6267"/>
                  </a:lnTo>
                  <a:close/>
                  <a:moveTo>
                    <a:pt x="9006" y="8796"/>
                  </a:moveTo>
                  <a:cubicBezTo>
                    <a:pt x="8889" y="8585"/>
                    <a:pt x="8654" y="8374"/>
                    <a:pt x="8419" y="8269"/>
                  </a:cubicBezTo>
                  <a:cubicBezTo>
                    <a:pt x="7598" y="7848"/>
                    <a:pt x="6658" y="7953"/>
                    <a:pt x="6306" y="8480"/>
                  </a:cubicBezTo>
                  <a:cubicBezTo>
                    <a:pt x="5954" y="9112"/>
                    <a:pt x="6306" y="9849"/>
                    <a:pt x="7011" y="10271"/>
                  </a:cubicBezTo>
                  <a:cubicBezTo>
                    <a:pt x="7715" y="10692"/>
                    <a:pt x="8654" y="10587"/>
                    <a:pt x="9006" y="10166"/>
                  </a:cubicBezTo>
                  <a:cubicBezTo>
                    <a:pt x="9006" y="10166"/>
                    <a:pt x="9006" y="10166"/>
                    <a:pt x="9006" y="10166"/>
                  </a:cubicBezTo>
                  <a:cubicBezTo>
                    <a:pt x="10767" y="7742"/>
                    <a:pt x="10767" y="7742"/>
                    <a:pt x="10767" y="7742"/>
                  </a:cubicBezTo>
                  <a:cubicBezTo>
                    <a:pt x="14406" y="9744"/>
                    <a:pt x="14406" y="9744"/>
                    <a:pt x="14406" y="9744"/>
                  </a:cubicBezTo>
                  <a:cubicBezTo>
                    <a:pt x="13467" y="11219"/>
                    <a:pt x="13467" y="11219"/>
                    <a:pt x="13467" y="11219"/>
                  </a:cubicBezTo>
                  <a:cubicBezTo>
                    <a:pt x="13232" y="11009"/>
                    <a:pt x="12998" y="10798"/>
                    <a:pt x="12763" y="10692"/>
                  </a:cubicBezTo>
                  <a:cubicBezTo>
                    <a:pt x="12058" y="10271"/>
                    <a:pt x="11119" y="10376"/>
                    <a:pt x="10650" y="10903"/>
                  </a:cubicBezTo>
                  <a:cubicBezTo>
                    <a:pt x="10298" y="11430"/>
                    <a:pt x="10650" y="12273"/>
                    <a:pt x="11472" y="12694"/>
                  </a:cubicBezTo>
                  <a:cubicBezTo>
                    <a:pt x="12176" y="13116"/>
                    <a:pt x="12998" y="13010"/>
                    <a:pt x="13467" y="12484"/>
                  </a:cubicBezTo>
                  <a:cubicBezTo>
                    <a:pt x="13467" y="12484"/>
                    <a:pt x="13467" y="12484"/>
                    <a:pt x="13467" y="12484"/>
                  </a:cubicBezTo>
                  <a:cubicBezTo>
                    <a:pt x="16519" y="7953"/>
                    <a:pt x="16519" y="7953"/>
                    <a:pt x="16519" y="7953"/>
                  </a:cubicBezTo>
                  <a:cubicBezTo>
                    <a:pt x="11472" y="5108"/>
                    <a:pt x="11472" y="5108"/>
                    <a:pt x="11472" y="5108"/>
                  </a:cubicBezTo>
                  <a:lnTo>
                    <a:pt x="9006" y="8796"/>
                  </a:lnTo>
                  <a:close/>
                  <a:moveTo>
                    <a:pt x="12880" y="16382"/>
                  </a:moveTo>
                  <a:cubicBezTo>
                    <a:pt x="12176" y="17225"/>
                    <a:pt x="10885" y="17541"/>
                    <a:pt x="9828" y="17014"/>
                  </a:cubicBezTo>
                  <a:cubicBezTo>
                    <a:pt x="4193" y="13959"/>
                    <a:pt x="4193" y="13959"/>
                    <a:pt x="4193" y="13959"/>
                  </a:cubicBezTo>
                  <a:cubicBezTo>
                    <a:pt x="3137" y="13327"/>
                    <a:pt x="2785" y="12062"/>
                    <a:pt x="3372" y="11219"/>
                  </a:cubicBezTo>
                  <a:cubicBezTo>
                    <a:pt x="9124" y="2685"/>
                    <a:pt x="9124" y="2685"/>
                    <a:pt x="9124" y="2685"/>
                  </a:cubicBezTo>
                  <a:cubicBezTo>
                    <a:pt x="9828" y="1736"/>
                    <a:pt x="11237" y="1420"/>
                    <a:pt x="12293" y="2052"/>
                  </a:cubicBezTo>
                  <a:cubicBezTo>
                    <a:pt x="17928" y="5108"/>
                    <a:pt x="17928" y="5108"/>
                    <a:pt x="17928" y="5108"/>
                  </a:cubicBezTo>
                  <a:cubicBezTo>
                    <a:pt x="18867" y="5635"/>
                    <a:pt x="19219" y="6899"/>
                    <a:pt x="18632" y="7848"/>
                  </a:cubicBezTo>
                  <a:lnTo>
                    <a:pt x="12880" y="16382"/>
                  </a:lnTo>
                  <a:close/>
                  <a:moveTo>
                    <a:pt x="5250" y="18068"/>
                  </a:moveTo>
                  <a:cubicBezTo>
                    <a:pt x="4663" y="17752"/>
                    <a:pt x="4428" y="17014"/>
                    <a:pt x="4780" y="16488"/>
                  </a:cubicBezTo>
                  <a:cubicBezTo>
                    <a:pt x="5132" y="15855"/>
                    <a:pt x="5954" y="15750"/>
                    <a:pt x="6541" y="16066"/>
                  </a:cubicBezTo>
                  <a:cubicBezTo>
                    <a:pt x="7128" y="16382"/>
                    <a:pt x="7363" y="17120"/>
                    <a:pt x="7011" y="17647"/>
                  </a:cubicBezTo>
                  <a:cubicBezTo>
                    <a:pt x="6658" y="18173"/>
                    <a:pt x="5837" y="18384"/>
                    <a:pt x="5250" y="18068"/>
                  </a:cubicBezTo>
                  <a:close/>
                  <a:moveTo>
                    <a:pt x="19337" y="4160"/>
                  </a:moveTo>
                  <a:cubicBezTo>
                    <a:pt x="12528" y="367"/>
                    <a:pt x="12528" y="367"/>
                    <a:pt x="12528" y="367"/>
                  </a:cubicBezTo>
                  <a:cubicBezTo>
                    <a:pt x="11119" y="-371"/>
                    <a:pt x="9358" y="50"/>
                    <a:pt x="8537" y="1209"/>
                  </a:cubicBezTo>
                  <a:cubicBezTo>
                    <a:pt x="437" y="13221"/>
                    <a:pt x="437" y="13221"/>
                    <a:pt x="437" y="13221"/>
                  </a:cubicBezTo>
                  <a:cubicBezTo>
                    <a:pt x="-385" y="14486"/>
                    <a:pt x="-33" y="16066"/>
                    <a:pt x="1376" y="16804"/>
                  </a:cubicBezTo>
                  <a:cubicBezTo>
                    <a:pt x="8185" y="20491"/>
                    <a:pt x="8185" y="20491"/>
                    <a:pt x="8185" y="20491"/>
                  </a:cubicBezTo>
                  <a:cubicBezTo>
                    <a:pt x="9593" y="21229"/>
                    <a:pt x="11354" y="20913"/>
                    <a:pt x="12176" y="19649"/>
                  </a:cubicBezTo>
                  <a:cubicBezTo>
                    <a:pt x="20393" y="7637"/>
                    <a:pt x="20393" y="7637"/>
                    <a:pt x="20393" y="7637"/>
                  </a:cubicBezTo>
                  <a:cubicBezTo>
                    <a:pt x="21215" y="6478"/>
                    <a:pt x="20745" y="4897"/>
                    <a:pt x="19337" y="4160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75" name="Shape 8275"/>
            <p:cNvSpPr/>
            <p:nvPr/>
          </p:nvSpPr>
          <p:spPr>
            <a:xfrm flipH="1">
              <a:off x="1038919" y="-1"/>
              <a:ext cx="382346" cy="37443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522" h="20498" extrusionOk="0">
                  <a:moveTo>
                    <a:pt x="3242" y="1970"/>
                  </a:moveTo>
                  <a:cubicBezTo>
                    <a:pt x="-515" y="5042"/>
                    <a:pt x="-1078" y="10610"/>
                    <a:pt x="1927" y="14450"/>
                  </a:cubicBezTo>
                  <a:cubicBezTo>
                    <a:pt x="6247" y="19922"/>
                    <a:pt x="6247" y="19922"/>
                    <a:pt x="6247" y="19922"/>
                  </a:cubicBezTo>
                  <a:cubicBezTo>
                    <a:pt x="6529" y="20306"/>
                    <a:pt x="7092" y="20306"/>
                    <a:pt x="7468" y="20018"/>
                  </a:cubicBezTo>
                  <a:cubicBezTo>
                    <a:pt x="8595" y="19154"/>
                    <a:pt x="8595" y="19154"/>
                    <a:pt x="8595" y="19154"/>
                  </a:cubicBezTo>
                  <a:cubicBezTo>
                    <a:pt x="8971" y="18866"/>
                    <a:pt x="9065" y="18194"/>
                    <a:pt x="8689" y="17810"/>
                  </a:cubicBezTo>
                  <a:cubicBezTo>
                    <a:pt x="5308" y="13490"/>
                    <a:pt x="5308" y="13490"/>
                    <a:pt x="5308" y="13490"/>
                  </a:cubicBezTo>
                  <a:cubicBezTo>
                    <a:pt x="4932" y="13106"/>
                    <a:pt x="4369" y="13010"/>
                    <a:pt x="3993" y="13298"/>
                  </a:cubicBezTo>
                  <a:cubicBezTo>
                    <a:pt x="3242" y="13874"/>
                    <a:pt x="3242" y="13874"/>
                    <a:pt x="3242" y="13874"/>
                  </a:cubicBezTo>
                  <a:cubicBezTo>
                    <a:pt x="2960" y="13586"/>
                    <a:pt x="2960" y="13586"/>
                    <a:pt x="2960" y="13586"/>
                  </a:cubicBezTo>
                  <a:cubicBezTo>
                    <a:pt x="425" y="10322"/>
                    <a:pt x="988" y="5618"/>
                    <a:pt x="4087" y="3026"/>
                  </a:cubicBezTo>
                  <a:cubicBezTo>
                    <a:pt x="7280" y="434"/>
                    <a:pt x="11882" y="914"/>
                    <a:pt x="14418" y="4178"/>
                  </a:cubicBezTo>
                  <a:cubicBezTo>
                    <a:pt x="14699" y="4562"/>
                    <a:pt x="14699" y="4562"/>
                    <a:pt x="14699" y="4562"/>
                  </a:cubicBezTo>
                  <a:cubicBezTo>
                    <a:pt x="13948" y="5138"/>
                    <a:pt x="13948" y="5138"/>
                    <a:pt x="13948" y="5138"/>
                  </a:cubicBezTo>
                  <a:cubicBezTo>
                    <a:pt x="13572" y="5426"/>
                    <a:pt x="13479" y="6002"/>
                    <a:pt x="13854" y="6482"/>
                  </a:cubicBezTo>
                  <a:cubicBezTo>
                    <a:pt x="17235" y="10802"/>
                    <a:pt x="17235" y="10802"/>
                    <a:pt x="17235" y="10802"/>
                  </a:cubicBezTo>
                  <a:cubicBezTo>
                    <a:pt x="17611" y="11186"/>
                    <a:pt x="18174" y="11282"/>
                    <a:pt x="18550" y="10994"/>
                  </a:cubicBezTo>
                  <a:cubicBezTo>
                    <a:pt x="19677" y="10034"/>
                    <a:pt x="19677" y="10034"/>
                    <a:pt x="19677" y="10034"/>
                  </a:cubicBezTo>
                  <a:cubicBezTo>
                    <a:pt x="20052" y="9746"/>
                    <a:pt x="20052" y="9170"/>
                    <a:pt x="19771" y="8786"/>
                  </a:cubicBezTo>
                  <a:cubicBezTo>
                    <a:pt x="15451" y="3314"/>
                    <a:pt x="15451" y="3314"/>
                    <a:pt x="15451" y="3314"/>
                  </a:cubicBezTo>
                  <a:cubicBezTo>
                    <a:pt x="12445" y="-526"/>
                    <a:pt x="6999" y="-1102"/>
                    <a:pt x="3242" y="1970"/>
                  </a:cubicBezTo>
                  <a:close/>
                  <a:moveTo>
                    <a:pt x="5496" y="20498"/>
                  </a:moveTo>
                  <a:cubicBezTo>
                    <a:pt x="2115" y="16082"/>
                    <a:pt x="2115" y="16082"/>
                    <a:pt x="2115" y="16082"/>
                  </a:cubicBezTo>
                  <a:cubicBezTo>
                    <a:pt x="2115" y="17042"/>
                    <a:pt x="2397" y="18098"/>
                    <a:pt x="3054" y="18866"/>
                  </a:cubicBezTo>
                  <a:cubicBezTo>
                    <a:pt x="3712" y="19730"/>
                    <a:pt x="4557" y="20210"/>
                    <a:pt x="5496" y="20498"/>
                  </a:cubicBezTo>
                  <a:close/>
                  <a:moveTo>
                    <a:pt x="17047" y="3794"/>
                  </a:moveTo>
                  <a:cubicBezTo>
                    <a:pt x="20522" y="8210"/>
                    <a:pt x="20522" y="8210"/>
                    <a:pt x="20522" y="8210"/>
                  </a:cubicBezTo>
                  <a:cubicBezTo>
                    <a:pt x="20428" y="7154"/>
                    <a:pt x="20146" y="6194"/>
                    <a:pt x="19489" y="5426"/>
                  </a:cubicBezTo>
                  <a:cubicBezTo>
                    <a:pt x="18832" y="4562"/>
                    <a:pt x="17986" y="4082"/>
                    <a:pt x="17047" y="3794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76" name="Shape 8276"/>
            <p:cNvSpPr/>
            <p:nvPr/>
          </p:nvSpPr>
          <p:spPr>
            <a:xfrm flipH="1">
              <a:off x="485739" y="703458"/>
              <a:ext cx="245131" cy="24513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8949" y="14503"/>
                  </a:moveTo>
                  <a:cubicBezTo>
                    <a:pt x="8949" y="14503"/>
                    <a:pt x="9103" y="14503"/>
                    <a:pt x="9103" y="14503"/>
                  </a:cubicBezTo>
                  <a:cubicBezTo>
                    <a:pt x="9257" y="14503"/>
                    <a:pt x="9411" y="14503"/>
                    <a:pt x="9411" y="14503"/>
                  </a:cubicBezTo>
                  <a:cubicBezTo>
                    <a:pt x="13731" y="11263"/>
                    <a:pt x="13731" y="11263"/>
                    <a:pt x="13731" y="11263"/>
                  </a:cubicBezTo>
                  <a:cubicBezTo>
                    <a:pt x="13886" y="11109"/>
                    <a:pt x="14040" y="10954"/>
                    <a:pt x="14040" y="10800"/>
                  </a:cubicBezTo>
                  <a:cubicBezTo>
                    <a:pt x="14040" y="10646"/>
                    <a:pt x="13886" y="10491"/>
                    <a:pt x="13731" y="10337"/>
                  </a:cubicBezTo>
                  <a:cubicBezTo>
                    <a:pt x="9411" y="7097"/>
                    <a:pt x="9411" y="7097"/>
                    <a:pt x="9411" y="7097"/>
                  </a:cubicBezTo>
                  <a:cubicBezTo>
                    <a:pt x="9411" y="7097"/>
                    <a:pt x="9257" y="6943"/>
                    <a:pt x="9103" y="6943"/>
                  </a:cubicBezTo>
                  <a:cubicBezTo>
                    <a:pt x="9103" y="6943"/>
                    <a:pt x="8949" y="7097"/>
                    <a:pt x="8949" y="7097"/>
                  </a:cubicBezTo>
                  <a:cubicBezTo>
                    <a:pt x="8794" y="7097"/>
                    <a:pt x="8640" y="7406"/>
                    <a:pt x="8640" y="7560"/>
                  </a:cubicBezTo>
                  <a:cubicBezTo>
                    <a:pt x="8640" y="14040"/>
                    <a:pt x="8640" y="14040"/>
                    <a:pt x="8640" y="14040"/>
                  </a:cubicBezTo>
                  <a:cubicBezTo>
                    <a:pt x="8640" y="14194"/>
                    <a:pt x="8794" y="14349"/>
                    <a:pt x="8949" y="14503"/>
                  </a:cubicBezTo>
                  <a:close/>
                  <a:moveTo>
                    <a:pt x="20520" y="2777"/>
                  </a:moveTo>
                  <a:cubicBezTo>
                    <a:pt x="18360" y="2777"/>
                    <a:pt x="18360" y="2777"/>
                    <a:pt x="18360" y="2777"/>
                  </a:cubicBezTo>
                  <a:cubicBezTo>
                    <a:pt x="18360" y="1080"/>
                    <a:pt x="18360" y="1080"/>
                    <a:pt x="18360" y="1080"/>
                  </a:cubicBezTo>
                  <a:cubicBezTo>
                    <a:pt x="20520" y="1080"/>
                    <a:pt x="20520" y="1080"/>
                    <a:pt x="20520" y="1080"/>
                  </a:cubicBezTo>
                  <a:lnTo>
                    <a:pt x="20520" y="2777"/>
                  </a:lnTo>
                  <a:close/>
                  <a:moveTo>
                    <a:pt x="20520" y="17743"/>
                  </a:moveTo>
                  <a:cubicBezTo>
                    <a:pt x="1080" y="17743"/>
                    <a:pt x="1080" y="17743"/>
                    <a:pt x="1080" y="17743"/>
                  </a:cubicBezTo>
                  <a:cubicBezTo>
                    <a:pt x="1080" y="3857"/>
                    <a:pt x="1080" y="3857"/>
                    <a:pt x="1080" y="3857"/>
                  </a:cubicBezTo>
                  <a:cubicBezTo>
                    <a:pt x="20520" y="3857"/>
                    <a:pt x="20520" y="3857"/>
                    <a:pt x="20520" y="3857"/>
                  </a:cubicBezTo>
                  <a:lnTo>
                    <a:pt x="20520" y="17743"/>
                  </a:lnTo>
                  <a:close/>
                  <a:moveTo>
                    <a:pt x="20520" y="20520"/>
                  </a:moveTo>
                  <a:cubicBezTo>
                    <a:pt x="18360" y="20520"/>
                    <a:pt x="18360" y="20520"/>
                    <a:pt x="18360" y="20520"/>
                  </a:cubicBezTo>
                  <a:cubicBezTo>
                    <a:pt x="18360" y="18823"/>
                    <a:pt x="18360" y="18823"/>
                    <a:pt x="18360" y="18823"/>
                  </a:cubicBezTo>
                  <a:cubicBezTo>
                    <a:pt x="20520" y="18823"/>
                    <a:pt x="20520" y="18823"/>
                    <a:pt x="20520" y="18823"/>
                  </a:cubicBezTo>
                  <a:lnTo>
                    <a:pt x="20520" y="20520"/>
                  </a:lnTo>
                  <a:close/>
                  <a:moveTo>
                    <a:pt x="16200" y="20520"/>
                  </a:moveTo>
                  <a:cubicBezTo>
                    <a:pt x="14040" y="20520"/>
                    <a:pt x="14040" y="20520"/>
                    <a:pt x="14040" y="20520"/>
                  </a:cubicBezTo>
                  <a:cubicBezTo>
                    <a:pt x="14040" y="18823"/>
                    <a:pt x="14040" y="18823"/>
                    <a:pt x="14040" y="18823"/>
                  </a:cubicBezTo>
                  <a:cubicBezTo>
                    <a:pt x="16200" y="18823"/>
                    <a:pt x="16200" y="18823"/>
                    <a:pt x="16200" y="18823"/>
                  </a:cubicBezTo>
                  <a:lnTo>
                    <a:pt x="16200" y="20520"/>
                  </a:lnTo>
                  <a:close/>
                  <a:moveTo>
                    <a:pt x="11880" y="20520"/>
                  </a:moveTo>
                  <a:cubicBezTo>
                    <a:pt x="9720" y="20520"/>
                    <a:pt x="9720" y="20520"/>
                    <a:pt x="9720" y="20520"/>
                  </a:cubicBezTo>
                  <a:cubicBezTo>
                    <a:pt x="9720" y="18823"/>
                    <a:pt x="9720" y="18823"/>
                    <a:pt x="9720" y="18823"/>
                  </a:cubicBezTo>
                  <a:cubicBezTo>
                    <a:pt x="11880" y="18823"/>
                    <a:pt x="11880" y="18823"/>
                    <a:pt x="11880" y="18823"/>
                  </a:cubicBezTo>
                  <a:lnTo>
                    <a:pt x="11880" y="20520"/>
                  </a:lnTo>
                  <a:close/>
                  <a:moveTo>
                    <a:pt x="7560" y="20520"/>
                  </a:moveTo>
                  <a:cubicBezTo>
                    <a:pt x="5400" y="20520"/>
                    <a:pt x="5400" y="20520"/>
                    <a:pt x="5400" y="20520"/>
                  </a:cubicBezTo>
                  <a:cubicBezTo>
                    <a:pt x="5400" y="18823"/>
                    <a:pt x="5400" y="18823"/>
                    <a:pt x="5400" y="18823"/>
                  </a:cubicBezTo>
                  <a:cubicBezTo>
                    <a:pt x="7560" y="18823"/>
                    <a:pt x="7560" y="18823"/>
                    <a:pt x="7560" y="18823"/>
                  </a:cubicBezTo>
                  <a:lnTo>
                    <a:pt x="7560" y="20520"/>
                  </a:lnTo>
                  <a:close/>
                  <a:moveTo>
                    <a:pt x="3240" y="20520"/>
                  </a:moveTo>
                  <a:cubicBezTo>
                    <a:pt x="1080" y="20520"/>
                    <a:pt x="1080" y="20520"/>
                    <a:pt x="1080" y="20520"/>
                  </a:cubicBezTo>
                  <a:cubicBezTo>
                    <a:pt x="1080" y="18823"/>
                    <a:pt x="1080" y="18823"/>
                    <a:pt x="1080" y="18823"/>
                  </a:cubicBezTo>
                  <a:cubicBezTo>
                    <a:pt x="3240" y="18823"/>
                    <a:pt x="3240" y="18823"/>
                    <a:pt x="3240" y="18823"/>
                  </a:cubicBezTo>
                  <a:lnTo>
                    <a:pt x="3240" y="20520"/>
                  </a:lnTo>
                  <a:close/>
                  <a:moveTo>
                    <a:pt x="1080" y="1080"/>
                  </a:moveTo>
                  <a:cubicBezTo>
                    <a:pt x="3240" y="1080"/>
                    <a:pt x="3240" y="1080"/>
                    <a:pt x="3240" y="1080"/>
                  </a:cubicBezTo>
                  <a:cubicBezTo>
                    <a:pt x="3240" y="2777"/>
                    <a:pt x="3240" y="2777"/>
                    <a:pt x="3240" y="2777"/>
                  </a:cubicBezTo>
                  <a:cubicBezTo>
                    <a:pt x="1080" y="2777"/>
                    <a:pt x="1080" y="2777"/>
                    <a:pt x="1080" y="2777"/>
                  </a:cubicBezTo>
                  <a:lnTo>
                    <a:pt x="1080" y="1080"/>
                  </a:lnTo>
                  <a:close/>
                  <a:moveTo>
                    <a:pt x="5400" y="1080"/>
                  </a:moveTo>
                  <a:cubicBezTo>
                    <a:pt x="7560" y="1080"/>
                    <a:pt x="7560" y="1080"/>
                    <a:pt x="7560" y="1080"/>
                  </a:cubicBezTo>
                  <a:cubicBezTo>
                    <a:pt x="7560" y="2777"/>
                    <a:pt x="7560" y="2777"/>
                    <a:pt x="7560" y="2777"/>
                  </a:cubicBezTo>
                  <a:cubicBezTo>
                    <a:pt x="5400" y="2777"/>
                    <a:pt x="5400" y="2777"/>
                    <a:pt x="5400" y="2777"/>
                  </a:cubicBezTo>
                  <a:lnTo>
                    <a:pt x="5400" y="1080"/>
                  </a:lnTo>
                  <a:close/>
                  <a:moveTo>
                    <a:pt x="9720" y="1080"/>
                  </a:moveTo>
                  <a:cubicBezTo>
                    <a:pt x="11880" y="1080"/>
                    <a:pt x="11880" y="1080"/>
                    <a:pt x="11880" y="1080"/>
                  </a:cubicBezTo>
                  <a:cubicBezTo>
                    <a:pt x="11880" y="2777"/>
                    <a:pt x="11880" y="2777"/>
                    <a:pt x="11880" y="2777"/>
                  </a:cubicBezTo>
                  <a:cubicBezTo>
                    <a:pt x="9720" y="2777"/>
                    <a:pt x="9720" y="2777"/>
                    <a:pt x="9720" y="2777"/>
                  </a:cubicBezTo>
                  <a:lnTo>
                    <a:pt x="9720" y="1080"/>
                  </a:lnTo>
                  <a:close/>
                  <a:moveTo>
                    <a:pt x="14040" y="1080"/>
                  </a:moveTo>
                  <a:cubicBezTo>
                    <a:pt x="16200" y="1080"/>
                    <a:pt x="16200" y="1080"/>
                    <a:pt x="16200" y="1080"/>
                  </a:cubicBezTo>
                  <a:cubicBezTo>
                    <a:pt x="16200" y="2777"/>
                    <a:pt x="16200" y="2777"/>
                    <a:pt x="16200" y="2777"/>
                  </a:cubicBezTo>
                  <a:cubicBezTo>
                    <a:pt x="14040" y="2777"/>
                    <a:pt x="14040" y="2777"/>
                    <a:pt x="14040" y="2777"/>
                  </a:cubicBezTo>
                  <a:lnTo>
                    <a:pt x="14040" y="1080"/>
                  </a:lnTo>
                  <a:close/>
                  <a:moveTo>
                    <a:pt x="20520" y="0"/>
                  </a:moveTo>
                  <a:cubicBezTo>
                    <a:pt x="1080" y="0"/>
                    <a:pt x="1080" y="0"/>
                    <a:pt x="1080" y="0"/>
                  </a:cubicBezTo>
                  <a:cubicBezTo>
                    <a:pt x="463" y="0"/>
                    <a:pt x="0" y="463"/>
                    <a:pt x="0" y="1080"/>
                  </a:cubicBezTo>
                  <a:cubicBezTo>
                    <a:pt x="0" y="20520"/>
                    <a:pt x="0" y="20520"/>
                    <a:pt x="0" y="20520"/>
                  </a:cubicBezTo>
                  <a:cubicBezTo>
                    <a:pt x="0" y="21137"/>
                    <a:pt x="463" y="21600"/>
                    <a:pt x="1080" y="21600"/>
                  </a:cubicBezTo>
                  <a:cubicBezTo>
                    <a:pt x="20520" y="21600"/>
                    <a:pt x="20520" y="21600"/>
                    <a:pt x="20520" y="21600"/>
                  </a:cubicBezTo>
                  <a:cubicBezTo>
                    <a:pt x="20983" y="21600"/>
                    <a:pt x="21600" y="21137"/>
                    <a:pt x="21600" y="20520"/>
                  </a:cubicBezTo>
                  <a:cubicBezTo>
                    <a:pt x="21600" y="1080"/>
                    <a:pt x="21600" y="1080"/>
                    <a:pt x="21600" y="1080"/>
                  </a:cubicBezTo>
                  <a:cubicBezTo>
                    <a:pt x="21600" y="463"/>
                    <a:pt x="20983" y="0"/>
                    <a:pt x="20520" y="0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sp>
          <p:nvSpPr>
            <p:cNvPr id="8277" name="Shape 8277"/>
            <p:cNvSpPr/>
            <p:nvPr/>
          </p:nvSpPr>
          <p:spPr>
            <a:xfrm flipH="1">
              <a:off x="-1" y="1214404"/>
              <a:ext cx="386285" cy="35057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143" h="19988" extrusionOk="0">
                  <a:moveTo>
                    <a:pt x="4565" y="13994"/>
                  </a:moveTo>
                  <a:cubicBezTo>
                    <a:pt x="3742" y="14594"/>
                    <a:pt x="2643" y="14494"/>
                    <a:pt x="2003" y="13594"/>
                  </a:cubicBezTo>
                  <a:cubicBezTo>
                    <a:pt x="1454" y="12794"/>
                    <a:pt x="1637" y="11594"/>
                    <a:pt x="2369" y="10894"/>
                  </a:cubicBezTo>
                  <a:cubicBezTo>
                    <a:pt x="3193" y="10294"/>
                    <a:pt x="4291" y="10394"/>
                    <a:pt x="4840" y="11294"/>
                  </a:cubicBezTo>
                  <a:cubicBezTo>
                    <a:pt x="5481" y="12094"/>
                    <a:pt x="5298" y="13394"/>
                    <a:pt x="4565" y="13994"/>
                  </a:cubicBezTo>
                  <a:close/>
                  <a:moveTo>
                    <a:pt x="9325" y="16094"/>
                  </a:moveTo>
                  <a:cubicBezTo>
                    <a:pt x="8501" y="16694"/>
                    <a:pt x="7403" y="16594"/>
                    <a:pt x="6854" y="15694"/>
                  </a:cubicBezTo>
                  <a:cubicBezTo>
                    <a:pt x="6213" y="14894"/>
                    <a:pt x="6396" y="13694"/>
                    <a:pt x="7128" y="12994"/>
                  </a:cubicBezTo>
                  <a:cubicBezTo>
                    <a:pt x="7952" y="12394"/>
                    <a:pt x="9050" y="12494"/>
                    <a:pt x="9691" y="13394"/>
                  </a:cubicBezTo>
                  <a:cubicBezTo>
                    <a:pt x="10240" y="14194"/>
                    <a:pt x="10057" y="15394"/>
                    <a:pt x="9325" y="16094"/>
                  </a:cubicBezTo>
                  <a:close/>
                  <a:moveTo>
                    <a:pt x="11338" y="10194"/>
                  </a:moveTo>
                  <a:cubicBezTo>
                    <a:pt x="10240" y="8594"/>
                    <a:pt x="10240" y="8594"/>
                    <a:pt x="10240" y="8594"/>
                  </a:cubicBezTo>
                  <a:cubicBezTo>
                    <a:pt x="10057" y="8394"/>
                    <a:pt x="10149" y="8094"/>
                    <a:pt x="10332" y="7994"/>
                  </a:cubicBezTo>
                  <a:cubicBezTo>
                    <a:pt x="12071" y="6494"/>
                    <a:pt x="12071" y="6494"/>
                    <a:pt x="12071" y="6494"/>
                  </a:cubicBezTo>
                  <a:cubicBezTo>
                    <a:pt x="10789" y="4594"/>
                    <a:pt x="10789" y="4594"/>
                    <a:pt x="10789" y="4594"/>
                  </a:cubicBezTo>
                  <a:cubicBezTo>
                    <a:pt x="10606" y="4394"/>
                    <a:pt x="10606" y="4094"/>
                    <a:pt x="10789" y="3894"/>
                  </a:cubicBezTo>
                  <a:cubicBezTo>
                    <a:pt x="12254" y="2694"/>
                    <a:pt x="12254" y="2694"/>
                    <a:pt x="12254" y="2694"/>
                  </a:cubicBezTo>
                  <a:cubicBezTo>
                    <a:pt x="12437" y="2594"/>
                    <a:pt x="12711" y="2594"/>
                    <a:pt x="12894" y="2794"/>
                  </a:cubicBezTo>
                  <a:cubicBezTo>
                    <a:pt x="14176" y="4794"/>
                    <a:pt x="14176" y="4794"/>
                    <a:pt x="14176" y="4794"/>
                  </a:cubicBezTo>
                  <a:cubicBezTo>
                    <a:pt x="15915" y="3294"/>
                    <a:pt x="15915" y="3294"/>
                    <a:pt x="15915" y="3294"/>
                  </a:cubicBezTo>
                  <a:cubicBezTo>
                    <a:pt x="16189" y="3094"/>
                    <a:pt x="16464" y="3194"/>
                    <a:pt x="16555" y="3394"/>
                  </a:cubicBezTo>
                  <a:cubicBezTo>
                    <a:pt x="17654" y="4894"/>
                    <a:pt x="17654" y="4894"/>
                    <a:pt x="17654" y="4894"/>
                  </a:cubicBezTo>
                  <a:cubicBezTo>
                    <a:pt x="17837" y="5094"/>
                    <a:pt x="17745" y="5394"/>
                    <a:pt x="17562" y="5594"/>
                  </a:cubicBezTo>
                  <a:cubicBezTo>
                    <a:pt x="15823" y="7094"/>
                    <a:pt x="15823" y="7094"/>
                    <a:pt x="15823" y="7094"/>
                  </a:cubicBezTo>
                  <a:cubicBezTo>
                    <a:pt x="17104" y="8994"/>
                    <a:pt x="17104" y="8994"/>
                    <a:pt x="17104" y="8994"/>
                  </a:cubicBezTo>
                  <a:cubicBezTo>
                    <a:pt x="17288" y="9194"/>
                    <a:pt x="17288" y="9494"/>
                    <a:pt x="17013" y="9694"/>
                  </a:cubicBezTo>
                  <a:cubicBezTo>
                    <a:pt x="15640" y="10794"/>
                    <a:pt x="15640" y="10794"/>
                    <a:pt x="15640" y="10794"/>
                  </a:cubicBezTo>
                  <a:cubicBezTo>
                    <a:pt x="15457" y="10994"/>
                    <a:pt x="15182" y="10894"/>
                    <a:pt x="14999" y="10694"/>
                  </a:cubicBezTo>
                  <a:cubicBezTo>
                    <a:pt x="13718" y="8794"/>
                    <a:pt x="13718" y="8794"/>
                    <a:pt x="13718" y="8794"/>
                  </a:cubicBezTo>
                  <a:cubicBezTo>
                    <a:pt x="11888" y="10294"/>
                    <a:pt x="11888" y="10294"/>
                    <a:pt x="11888" y="10294"/>
                  </a:cubicBezTo>
                  <a:cubicBezTo>
                    <a:pt x="11704" y="10394"/>
                    <a:pt x="11430" y="10394"/>
                    <a:pt x="11338" y="10194"/>
                  </a:cubicBezTo>
                  <a:close/>
                  <a:moveTo>
                    <a:pt x="2094" y="8094"/>
                  </a:moveTo>
                  <a:cubicBezTo>
                    <a:pt x="-285" y="10494"/>
                    <a:pt x="-743" y="14494"/>
                    <a:pt x="1271" y="17294"/>
                  </a:cubicBezTo>
                  <a:cubicBezTo>
                    <a:pt x="3284" y="20194"/>
                    <a:pt x="6854" y="20794"/>
                    <a:pt x="9599" y="18894"/>
                  </a:cubicBezTo>
                  <a:cubicBezTo>
                    <a:pt x="9599" y="18894"/>
                    <a:pt x="9599" y="18894"/>
                    <a:pt x="9599" y="18894"/>
                  </a:cubicBezTo>
                  <a:cubicBezTo>
                    <a:pt x="18020" y="11894"/>
                    <a:pt x="18020" y="11894"/>
                    <a:pt x="18020" y="11894"/>
                  </a:cubicBezTo>
                  <a:cubicBezTo>
                    <a:pt x="18020" y="11894"/>
                    <a:pt x="18020" y="11894"/>
                    <a:pt x="18020" y="11894"/>
                  </a:cubicBezTo>
                  <a:cubicBezTo>
                    <a:pt x="20491" y="9494"/>
                    <a:pt x="20857" y="5494"/>
                    <a:pt x="18843" y="2694"/>
                  </a:cubicBezTo>
                  <a:cubicBezTo>
                    <a:pt x="16921" y="-206"/>
                    <a:pt x="13260" y="-806"/>
                    <a:pt x="10606" y="1094"/>
                  </a:cubicBezTo>
                  <a:cubicBezTo>
                    <a:pt x="10515" y="1094"/>
                    <a:pt x="10515" y="1094"/>
                    <a:pt x="10515" y="1094"/>
                  </a:cubicBezTo>
                  <a:cubicBezTo>
                    <a:pt x="2094" y="8094"/>
                    <a:pt x="2094" y="8094"/>
                    <a:pt x="2094" y="8094"/>
                  </a:cubicBezTo>
                  <a:close/>
                </a:path>
              </a:pathLst>
            </a:cu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  <p:grpSp>
          <p:nvGrpSpPr>
            <p:cNvPr id="8281" name="Group 8281"/>
            <p:cNvGrpSpPr/>
            <p:nvPr/>
          </p:nvGrpSpPr>
          <p:grpSpPr>
            <a:xfrm>
              <a:off x="678435" y="1159635"/>
              <a:ext cx="478928" cy="433039"/>
              <a:chOff x="0" y="0"/>
              <a:chExt cx="478927" cy="433038"/>
            </a:xfrm>
          </p:grpSpPr>
          <p:sp>
            <p:nvSpPr>
              <p:cNvPr id="8278" name="Shape 8278"/>
              <p:cNvSpPr/>
              <p:nvPr/>
            </p:nvSpPr>
            <p:spPr>
              <a:xfrm flipH="1">
                <a:off x="48036" y="230253"/>
                <a:ext cx="430892" cy="2027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386" h="21148" extrusionOk="0">
                    <a:moveTo>
                      <a:pt x="20886" y="17713"/>
                    </a:moveTo>
                    <a:cubicBezTo>
                      <a:pt x="1194" y="140"/>
                      <a:pt x="1194" y="140"/>
                      <a:pt x="1194" y="140"/>
                    </a:cubicBezTo>
                    <a:cubicBezTo>
                      <a:pt x="760" y="-226"/>
                      <a:pt x="240" y="140"/>
                      <a:pt x="66" y="1055"/>
                    </a:cubicBezTo>
                    <a:cubicBezTo>
                      <a:pt x="-107" y="1971"/>
                      <a:pt x="66" y="3069"/>
                      <a:pt x="500" y="3435"/>
                    </a:cubicBezTo>
                    <a:cubicBezTo>
                      <a:pt x="20192" y="21008"/>
                      <a:pt x="20192" y="21008"/>
                      <a:pt x="20192" y="21008"/>
                    </a:cubicBezTo>
                    <a:cubicBezTo>
                      <a:pt x="20626" y="21374"/>
                      <a:pt x="21146" y="21008"/>
                      <a:pt x="21320" y="20093"/>
                    </a:cubicBezTo>
                    <a:cubicBezTo>
                      <a:pt x="21493" y="19177"/>
                      <a:pt x="21320" y="18079"/>
                      <a:pt x="20886" y="17713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79" name="Shape 8279"/>
              <p:cNvSpPr/>
              <p:nvPr/>
            </p:nvSpPr>
            <p:spPr>
              <a:xfrm flipH="1">
                <a:off x="48502" y="226778"/>
                <a:ext cx="414230" cy="17434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549" y="17377"/>
                    </a:moveTo>
                    <a:lnTo>
                      <a:pt x="2324" y="0"/>
                    </a:lnTo>
                    <a:lnTo>
                      <a:pt x="0" y="0"/>
                    </a:lnTo>
                    <a:lnTo>
                      <a:pt x="21600" y="21600"/>
                    </a:lnTo>
                    <a:lnTo>
                      <a:pt x="19549" y="17377"/>
                    </a:lnTo>
                    <a:close/>
                  </a:path>
                </a:pathLst>
              </a:custGeom>
              <a:solidFill>
                <a:schemeClr val="accent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  <p:sp>
            <p:nvSpPr>
              <p:cNvPr id="8280" name="Shape 8280"/>
              <p:cNvSpPr/>
              <p:nvPr/>
            </p:nvSpPr>
            <p:spPr>
              <a:xfrm flipH="1">
                <a:off x="0" y="0"/>
                <a:ext cx="423407" cy="3591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748" y="0"/>
                    </a:moveTo>
                    <a:lnTo>
                      <a:pt x="0" y="13165"/>
                    </a:lnTo>
                    <a:lnTo>
                      <a:pt x="16986" y="21600"/>
                    </a:lnTo>
                    <a:lnTo>
                      <a:pt x="21600" y="8435"/>
                    </a:lnTo>
                    <a:lnTo>
                      <a:pt x="4748" y="0"/>
                    </a:lnTo>
                    <a:close/>
                    <a:moveTo>
                      <a:pt x="16852" y="20339"/>
                    </a:moveTo>
                    <a:lnTo>
                      <a:pt x="802" y="12298"/>
                    </a:lnTo>
                    <a:lnTo>
                      <a:pt x="4882" y="709"/>
                    </a:lnTo>
                    <a:lnTo>
                      <a:pt x="20998" y="8829"/>
                    </a:lnTo>
                    <a:lnTo>
                      <a:pt x="16852" y="20339"/>
                    </a:lnTo>
                    <a:close/>
                  </a:path>
                </a:pathLst>
              </a:custGeom>
              <a:solidFill>
                <a:schemeClr val="accent5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 Light"/>
                  <a:sym typeface="Poppins Light"/>
                </a:endParaRPr>
              </a:p>
            </p:txBody>
          </p:sp>
        </p:grpSp>
        <p:sp>
          <p:nvSpPr>
            <p:cNvPr id="8282" name="Shape 8282"/>
            <p:cNvSpPr/>
            <p:nvPr/>
          </p:nvSpPr>
          <p:spPr>
            <a:xfrm flipH="1">
              <a:off x="35893" y="588982"/>
              <a:ext cx="374225" cy="35502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90" h="21273" extrusionOk="0">
                  <a:moveTo>
                    <a:pt x="12483" y="790"/>
                  </a:moveTo>
                  <a:cubicBezTo>
                    <a:pt x="16644" y="5426"/>
                    <a:pt x="16644" y="5426"/>
                    <a:pt x="16644" y="5426"/>
                  </a:cubicBezTo>
                  <a:cubicBezTo>
                    <a:pt x="18527" y="6164"/>
                    <a:pt x="18527" y="6164"/>
                    <a:pt x="18527" y="6164"/>
                  </a:cubicBezTo>
                  <a:cubicBezTo>
                    <a:pt x="13077" y="158"/>
                    <a:pt x="13077" y="158"/>
                    <a:pt x="13077" y="158"/>
                  </a:cubicBezTo>
                  <a:cubicBezTo>
                    <a:pt x="12879" y="-53"/>
                    <a:pt x="12582" y="-53"/>
                    <a:pt x="12483" y="158"/>
                  </a:cubicBezTo>
                  <a:cubicBezTo>
                    <a:pt x="12284" y="368"/>
                    <a:pt x="12284" y="579"/>
                    <a:pt x="12483" y="790"/>
                  </a:cubicBezTo>
                  <a:close/>
                  <a:moveTo>
                    <a:pt x="4061" y="8482"/>
                  </a:moveTo>
                  <a:cubicBezTo>
                    <a:pt x="12681" y="11959"/>
                    <a:pt x="12681" y="11959"/>
                    <a:pt x="12681" y="11959"/>
                  </a:cubicBezTo>
                  <a:cubicBezTo>
                    <a:pt x="12780" y="11643"/>
                    <a:pt x="12780" y="11327"/>
                    <a:pt x="12879" y="11116"/>
                  </a:cubicBezTo>
                  <a:cubicBezTo>
                    <a:pt x="4457" y="7744"/>
                    <a:pt x="4457" y="7744"/>
                    <a:pt x="4457" y="7744"/>
                  </a:cubicBezTo>
                  <a:cubicBezTo>
                    <a:pt x="4358" y="7955"/>
                    <a:pt x="4160" y="8166"/>
                    <a:pt x="4061" y="8482"/>
                  </a:cubicBezTo>
                  <a:close/>
                  <a:moveTo>
                    <a:pt x="3862" y="12275"/>
                  </a:moveTo>
                  <a:cubicBezTo>
                    <a:pt x="10501" y="14909"/>
                    <a:pt x="10501" y="14909"/>
                    <a:pt x="10501" y="14909"/>
                  </a:cubicBezTo>
                  <a:cubicBezTo>
                    <a:pt x="10798" y="14698"/>
                    <a:pt x="11095" y="14487"/>
                    <a:pt x="11294" y="14277"/>
                  </a:cubicBezTo>
                  <a:cubicBezTo>
                    <a:pt x="3664" y="11221"/>
                    <a:pt x="3664" y="11221"/>
                    <a:pt x="3664" y="11221"/>
                  </a:cubicBezTo>
                  <a:cubicBezTo>
                    <a:pt x="3664" y="11537"/>
                    <a:pt x="3763" y="11853"/>
                    <a:pt x="3862" y="12275"/>
                  </a:cubicBezTo>
                  <a:close/>
                  <a:moveTo>
                    <a:pt x="3565" y="10273"/>
                  </a:moveTo>
                  <a:cubicBezTo>
                    <a:pt x="11987" y="13539"/>
                    <a:pt x="11987" y="13539"/>
                    <a:pt x="11987" y="13539"/>
                  </a:cubicBezTo>
                  <a:cubicBezTo>
                    <a:pt x="12086" y="13328"/>
                    <a:pt x="12284" y="13118"/>
                    <a:pt x="12383" y="12802"/>
                  </a:cubicBezTo>
                  <a:cubicBezTo>
                    <a:pt x="3763" y="9325"/>
                    <a:pt x="3763" y="9325"/>
                    <a:pt x="3763" y="9325"/>
                  </a:cubicBezTo>
                  <a:cubicBezTo>
                    <a:pt x="3664" y="9641"/>
                    <a:pt x="3664" y="9957"/>
                    <a:pt x="3565" y="10273"/>
                  </a:cubicBezTo>
                  <a:close/>
                  <a:moveTo>
                    <a:pt x="9906" y="6058"/>
                  </a:moveTo>
                  <a:cubicBezTo>
                    <a:pt x="8916" y="5637"/>
                    <a:pt x="7925" y="5637"/>
                    <a:pt x="7033" y="5847"/>
                  </a:cubicBezTo>
                  <a:cubicBezTo>
                    <a:pt x="12086" y="7849"/>
                    <a:pt x="12086" y="7849"/>
                    <a:pt x="12086" y="7849"/>
                  </a:cubicBezTo>
                  <a:cubicBezTo>
                    <a:pt x="11492" y="7112"/>
                    <a:pt x="10798" y="6374"/>
                    <a:pt x="9906" y="6058"/>
                  </a:cubicBezTo>
                  <a:close/>
                  <a:moveTo>
                    <a:pt x="12582" y="9008"/>
                  </a:moveTo>
                  <a:cubicBezTo>
                    <a:pt x="5943" y="6374"/>
                    <a:pt x="5943" y="6374"/>
                    <a:pt x="5943" y="6374"/>
                  </a:cubicBezTo>
                  <a:cubicBezTo>
                    <a:pt x="5646" y="6585"/>
                    <a:pt x="5349" y="6796"/>
                    <a:pt x="5150" y="7007"/>
                  </a:cubicBezTo>
                  <a:cubicBezTo>
                    <a:pt x="12780" y="10062"/>
                    <a:pt x="12780" y="10062"/>
                    <a:pt x="12780" y="10062"/>
                  </a:cubicBezTo>
                  <a:cubicBezTo>
                    <a:pt x="12780" y="9746"/>
                    <a:pt x="12681" y="9430"/>
                    <a:pt x="12582" y="9008"/>
                  </a:cubicBezTo>
                  <a:close/>
                  <a:moveTo>
                    <a:pt x="6538" y="15225"/>
                  </a:moveTo>
                  <a:cubicBezTo>
                    <a:pt x="7528" y="15647"/>
                    <a:pt x="8519" y="15647"/>
                    <a:pt x="9411" y="15436"/>
                  </a:cubicBezTo>
                  <a:cubicBezTo>
                    <a:pt x="4358" y="13434"/>
                    <a:pt x="4358" y="13434"/>
                    <a:pt x="4358" y="13434"/>
                  </a:cubicBezTo>
                  <a:cubicBezTo>
                    <a:pt x="4952" y="14277"/>
                    <a:pt x="5646" y="14909"/>
                    <a:pt x="6538" y="15225"/>
                  </a:cubicBezTo>
                  <a:close/>
                  <a:moveTo>
                    <a:pt x="16842" y="13118"/>
                  </a:moveTo>
                  <a:cubicBezTo>
                    <a:pt x="15752" y="12696"/>
                    <a:pt x="15158" y="11432"/>
                    <a:pt x="15554" y="10273"/>
                  </a:cubicBezTo>
                  <a:cubicBezTo>
                    <a:pt x="15950" y="9114"/>
                    <a:pt x="17239" y="8482"/>
                    <a:pt x="18328" y="8903"/>
                  </a:cubicBezTo>
                  <a:cubicBezTo>
                    <a:pt x="19418" y="9430"/>
                    <a:pt x="19914" y="10694"/>
                    <a:pt x="19517" y="11853"/>
                  </a:cubicBezTo>
                  <a:cubicBezTo>
                    <a:pt x="19121" y="13012"/>
                    <a:pt x="17932" y="13539"/>
                    <a:pt x="16842" y="13118"/>
                  </a:cubicBezTo>
                  <a:close/>
                  <a:moveTo>
                    <a:pt x="15950" y="15647"/>
                  </a:moveTo>
                  <a:cubicBezTo>
                    <a:pt x="15455" y="15436"/>
                    <a:pt x="15257" y="15014"/>
                    <a:pt x="15455" y="14487"/>
                  </a:cubicBezTo>
                  <a:cubicBezTo>
                    <a:pt x="15554" y="14066"/>
                    <a:pt x="16050" y="13855"/>
                    <a:pt x="16545" y="13961"/>
                  </a:cubicBezTo>
                  <a:cubicBezTo>
                    <a:pt x="16941" y="14171"/>
                    <a:pt x="17139" y="14698"/>
                    <a:pt x="17040" y="15120"/>
                  </a:cubicBezTo>
                  <a:cubicBezTo>
                    <a:pt x="16842" y="15647"/>
                    <a:pt x="16347" y="15857"/>
                    <a:pt x="15950" y="15647"/>
                  </a:cubicBezTo>
                  <a:close/>
                  <a:moveTo>
                    <a:pt x="6141" y="16489"/>
                  </a:moveTo>
                  <a:cubicBezTo>
                    <a:pt x="3070" y="15330"/>
                    <a:pt x="1583" y="11643"/>
                    <a:pt x="2673" y="8376"/>
                  </a:cubicBezTo>
                  <a:cubicBezTo>
                    <a:pt x="3862" y="5215"/>
                    <a:pt x="7231" y="3529"/>
                    <a:pt x="10303" y="4794"/>
                  </a:cubicBezTo>
                  <a:cubicBezTo>
                    <a:pt x="13374" y="5953"/>
                    <a:pt x="14861" y="9641"/>
                    <a:pt x="13771" y="12907"/>
                  </a:cubicBezTo>
                  <a:cubicBezTo>
                    <a:pt x="12582" y="16068"/>
                    <a:pt x="9213" y="17754"/>
                    <a:pt x="6141" y="16489"/>
                  </a:cubicBezTo>
                  <a:close/>
                  <a:moveTo>
                    <a:pt x="20112" y="7744"/>
                  </a:moveTo>
                  <a:cubicBezTo>
                    <a:pt x="5844" y="2054"/>
                    <a:pt x="5844" y="2054"/>
                    <a:pt x="5844" y="2054"/>
                  </a:cubicBezTo>
                  <a:cubicBezTo>
                    <a:pt x="5051" y="1633"/>
                    <a:pt x="4061" y="2160"/>
                    <a:pt x="3664" y="3108"/>
                  </a:cubicBezTo>
                  <a:cubicBezTo>
                    <a:pt x="97" y="13118"/>
                    <a:pt x="97" y="13118"/>
                    <a:pt x="97" y="13118"/>
                  </a:cubicBezTo>
                  <a:cubicBezTo>
                    <a:pt x="-200" y="14066"/>
                    <a:pt x="196" y="15120"/>
                    <a:pt x="1088" y="15436"/>
                  </a:cubicBezTo>
                  <a:cubicBezTo>
                    <a:pt x="15257" y="21126"/>
                    <a:pt x="15257" y="21126"/>
                    <a:pt x="15257" y="21126"/>
                  </a:cubicBezTo>
                  <a:cubicBezTo>
                    <a:pt x="16149" y="21547"/>
                    <a:pt x="17139" y="21020"/>
                    <a:pt x="17437" y="20072"/>
                  </a:cubicBezTo>
                  <a:cubicBezTo>
                    <a:pt x="21103" y="10062"/>
                    <a:pt x="21103" y="10062"/>
                    <a:pt x="21103" y="10062"/>
                  </a:cubicBezTo>
                  <a:cubicBezTo>
                    <a:pt x="21400" y="9114"/>
                    <a:pt x="20905" y="8060"/>
                    <a:pt x="20112" y="7744"/>
                  </a:cubicBezTo>
                  <a:close/>
                  <a:moveTo>
                    <a:pt x="17833" y="10167"/>
                  </a:moveTo>
                  <a:cubicBezTo>
                    <a:pt x="17437" y="10062"/>
                    <a:pt x="16941" y="10273"/>
                    <a:pt x="16743" y="10694"/>
                  </a:cubicBezTo>
                  <a:cubicBezTo>
                    <a:pt x="16644" y="11221"/>
                    <a:pt x="16842" y="11748"/>
                    <a:pt x="17239" y="11853"/>
                  </a:cubicBezTo>
                  <a:cubicBezTo>
                    <a:pt x="17635" y="12064"/>
                    <a:pt x="18130" y="11853"/>
                    <a:pt x="18328" y="11327"/>
                  </a:cubicBezTo>
                  <a:cubicBezTo>
                    <a:pt x="18527" y="10905"/>
                    <a:pt x="18328" y="10378"/>
                    <a:pt x="17833" y="10167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Light"/>
                <a:sym typeface="Poppins Light"/>
              </a:endParaRPr>
            </a:p>
          </p:txBody>
        </p:sp>
      </p:grpSp>
      <p:sp>
        <p:nvSpPr>
          <p:cNvPr id="8284" name="Shape 8284"/>
          <p:cNvSpPr/>
          <p:nvPr/>
        </p:nvSpPr>
        <p:spPr>
          <a:xfrm>
            <a:off x="5038449" y="2391787"/>
            <a:ext cx="772679" cy="7858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44" h="21600" extrusionOk="0">
                <a:moveTo>
                  <a:pt x="19351" y="0"/>
                </a:moveTo>
                <a:cubicBezTo>
                  <a:pt x="19351" y="0"/>
                  <a:pt x="19351" y="0"/>
                  <a:pt x="19351" y="0"/>
                </a:cubicBezTo>
                <a:cubicBezTo>
                  <a:pt x="2012" y="176"/>
                  <a:pt x="2012" y="176"/>
                  <a:pt x="2012" y="176"/>
                </a:cubicBezTo>
                <a:cubicBezTo>
                  <a:pt x="888" y="176"/>
                  <a:pt x="0" y="1054"/>
                  <a:pt x="0" y="2166"/>
                </a:cubicBezTo>
                <a:cubicBezTo>
                  <a:pt x="178" y="19610"/>
                  <a:pt x="178" y="19610"/>
                  <a:pt x="178" y="19610"/>
                </a:cubicBezTo>
                <a:cubicBezTo>
                  <a:pt x="178" y="20722"/>
                  <a:pt x="1065" y="21600"/>
                  <a:pt x="2190" y="21600"/>
                </a:cubicBezTo>
                <a:cubicBezTo>
                  <a:pt x="2190" y="21600"/>
                  <a:pt x="2190" y="21600"/>
                  <a:pt x="2190" y="21600"/>
                </a:cubicBezTo>
                <a:cubicBezTo>
                  <a:pt x="19588" y="21424"/>
                  <a:pt x="19588" y="21424"/>
                  <a:pt x="19588" y="21424"/>
                </a:cubicBezTo>
                <a:cubicBezTo>
                  <a:pt x="20712" y="21424"/>
                  <a:pt x="21600" y="20546"/>
                  <a:pt x="21541" y="19434"/>
                </a:cubicBezTo>
                <a:cubicBezTo>
                  <a:pt x="21422" y="1932"/>
                  <a:pt x="21422" y="1932"/>
                  <a:pt x="21422" y="1932"/>
                </a:cubicBezTo>
                <a:cubicBezTo>
                  <a:pt x="21363" y="878"/>
                  <a:pt x="20476" y="0"/>
                  <a:pt x="19351" y="0"/>
                </a:cubicBezTo>
              </a:path>
            </a:pathLst>
          </a:custGeom>
          <a:solidFill>
            <a:srgbClr val="FFD966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85" name="Shape 8285"/>
          <p:cNvSpPr/>
          <p:nvPr/>
        </p:nvSpPr>
        <p:spPr>
          <a:xfrm>
            <a:off x="5095599" y="2453700"/>
            <a:ext cx="660401" cy="6699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474"/>
                </a:moveTo>
                <a:cubicBezTo>
                  <a:pt x="21600" y="20571"/>
                  <a:pt x="20697" y="21463"/>
                  <a:pt x="19586" y="21463"/>
                </a:cubicBezTo>
                <a:cubicBezTo>
                  <a:pt x="2223" y="21600"/>
                  <a:pt x="2223" y="21600"/>
                  <a:pt x="2223" y="21600"/>
                </a:cubicBezTo>
                <a:cubicBezTo>
                  <a:pt x="1111" y="21600"/>
                  <a:pt x="139" y="20777"/>
                  <a:pt x="139" y="19680"/>
                </a:cubicBezTo>
                <a:cubicBezTo>
                  <a:pt x="0" y="2194"/>
                  <a:pt x="0" y="2194"/>
                  <a:pt x="0" y="2194"/>
                </a:cubicBezTo>
                <a:cubicBezTo>
                  <a:pt x="0" y="1097"/>
                  <a:pt x="833" y="206"/>
                  <a:pt x="1945" y="206"/>
                </a:cubicBezTo>
                <a:cubicBezTo>
                  <a:pt x="19377" y="0"/>
                  <a:pt x="19377" y="0"/>
                  <a:pt x="19377" y="0"/>
                </a:cubicBezTo>
                <a:cubicBezTo>
                  <a:pt x="20489" y="0"/>
                  <a:pt x="21392" y="891"/>
                  <a:pt x="21392" y="1989"/>
                </a:cubicBezTo>
                <a:lnTo>
                  <a:pt x="21600" y="19474"/>
                </a:ln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86" name="Shape 8286"/>
          <p:cNvSpPr/>
          <p:nvPr/>
        </p:nvSpPr>
        <p:spPr>
          <a:xfrm>
            <a:off x="5281336" y="2621975"/>
            <a:ext cx="303214" cy="381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162" y="121"/>
                </a:moveTo>
                <a:cubicBezTo>
                  <a:pt x="16162" y="2534"/>
                  <a:pt x="13745" y="4465"/>
                  <a:pt x="10573" y="4465"/>
                </a:cubicBezTo>
                <a:cubicBezTo>
                  <a:pt x="7552" y="4465"/>
                  <a:pt x="5136" y="2534"/>
                  <a:pt x="4985" y="121"/>
                </a:cubicBezTo>
                <a:cubicBezTo>
                  <a:pt x="1813" y="241"/>
                  <a:pt x="1813" y="241"/>
                  <a:pt x="1813" y="241"/>
                </a:cubicBezTo>
                <a:cubicBezTo>
                  <a:pt x="0" y="21600"/>
                  <a:pt x="0" y="21600"/>
                  <a:pt x="0" y="21600"/>
                </a:cubicBezTo>
                <a:cubicBezTo>
                  <a:pt x="21600" y="21359"/>
                  <a:pt x="21600" y="21359"/>
                  <a:pt x="21600" y="21359"/>
                </a:cubicBezTo>
                <a:cubicBezTo>
                  <a:pt x="18730" y="0"/>
                  <a:pt x="18730" y="0"/>
                  <a:pt x="18730" y="0"/>
                </a:cubicBezTo>
                <a:lnTo>
                  <a:pt x="16162" y="121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87" name="Shape 8287"/>
          <p:cNvSpPr/>
          <p:nvPr/>
        </p:nvSpPr>
        <p:spPr>
          <a:xfrm>
            <a:off x="5206129" y="2626737"/>
            <a:ext cx="95846" cy="5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388" h="21600" extrusionOk="0">
                <a:moveTo>
                  <a:pt x="17388" y="0"/>
                </a:moveTo>
                <a:cubicBezTo>
                  <a:pt x="-4212" y="11200"/>
                  <a:pt x="417" y="21600"/>
                  <a:pt x="417" y="21600"/>
                </a:cubicBezTo>
                <a:cubicBezTo>
                  <a:pt x="16231" y="21600"/>
                  <a:pt x="16231" y="21600"/>
                  <a:pt x="16231" y="21600"/>
                </a:cubicBezTo>
                <a:lnTo>
                  <a:pt x="17388" y="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88" name="Shape 8288"/>
          <p:cNvSpPr/>
          <p:nvPr/>
        </p:nvSpPr>
        <p:spPr>
          <a:xfrm>
            <a:off x="5549624" y="2621975"/>
            <a:ext cx="95835" cy="57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7157" h="21600" extrusionOk="0">
                <a:moveTo>
                  <a:pt x="0" y="0"/>
                </a:moveTo>
                <a:cubicBezTo>
                  <a:pt x="1137" y="21600"/>
                  <a:pt x="1137" y="21600"/>
                  <a:pt x="1137" y="21600"/>
                </a:cubicBezTo>
                <a:cubicBezTo>
                  <a:pt x="16674" y="21600"/>
                  <a:pt x="16674" y="21600"/>
                  <a:pt x="16674" y="21600"/>
                </a:cubicBezTo>
                <a:cubicBezTo>
                  <a:pt x="16674" y="21600"/>
                  <a:pt x="21600" y="10400"/>
                  <a:pt x="0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89" name="Shape 8289"/>
          <p:cNvSpPr/>
          <p:nvPr/>
        </p:nvSpPr>
        <p:spPr>
          <a:xfrm>
            <a:off x="5359124" y="2513533"/>
            <a:ext cx="138960" cy="15289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008" h="19625" extrusionOk="0">
                <a:moveTo>
                  <a:pt x="2901" y="19625"/>
                </a:moveTo>
                <a:cubicBezTo>
                  <a:pt x="18376" y="19625"/>
                  <a:pt x="18376" y="19625"/>
                  <a:pt x="18376" y="19625"/>
                </a:cubicBezTo>
                <a:cubicBezTo>
                  <a:pt x="21600" y="18258"/>
                  <a:pt x="20955" y="14157"/>
                  <a:pt x="20955" y="14157"/>
                </a:cubicBezTo>
                <a:cubicBezTo>
                  <a:pt x="12573" y="14157"/>
                  <a:pt x="12573" y="14157"/>
                  <a:pt x="12573" y="14157"/>
                </a:cubicBezTo>
                <a:cubicBezTo>
                  <a:pt x="9994" y="11696"/>
                  <a:pt x="11928" y="9235"/>
                  <a:pt x="11928" y="9235"/>
                </a:cubicBezTo>
                <a:cubicBezTo>
                  <a:pt x="18699" y="5954"/>
                  <a:pt x="14507" y="1579"/>
                  <a:pt x="14507" y="1579"/>
                </a:cubicBezTo>
                <a:cubicBezTo>
                  <a:pt x="10961" y="-1975"/>
                  <a:pt x="6125" y="1579"/>
                  <a:pt x="6125" y="1579"/>
                </a:cubicBezTo>
                <a:cubicBezTo>
                  <a:pt x="3546" y="4587"/>
                  <a:pt x="7415" y="4040"/>
                  <a:pt x="7415" y="4040"/>
                </a:cubicBezTo>
                <a:cubicBezTo>
                  <a:pt x="8060" y="3220"/>
                  <a:pt x="10316" y="2673"/>
                  <a:pt x="10316" y="2673"/>
                </a:cubicBezTo>
                <a:cubicBezTo>
                  <a:pt x="14830" y="3493"/>
                  <a:pt x="11928" y="7048"/>
                  <a:pt x="11928" y="7048"/>
                </a:cubicBezTo>
                <a:cubicBezTo>
                  <a:pt x="8060" y="7048"/>
                  <a:pt x="8382" y="14157"/>
                  <a:pt x="8382" y="14157"/>
                </a:cubicBezTo>
                <a:cubicBezTo>
                  <a:pt x="0" y="14157"/>
                  <a:pt x="0" y="14157"/>
                  <a:pt x="0" y="14157"/>
                </a:cubicBezTo>
                <a:cubicBezTo>
                  <a:pt x="0" y="18805"/>
                  <a:pt x="2901" y="19625"/>
                  <a:pt x="2901" y="19625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0" name="Shape 8290"/>
          <p:cNvSpPr/>
          <p:nvPr/>
        </p:nvSpPr>
        <p:spPr>
          <a:xfrm>
            <a:off x="5073374" y="3237925"/>
            <a:ext cx="688976" cy="7016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323" y="19964"/>
                </a:moveTo>
                <a:cubicBezTo>
                  <a:pt x="2393" y="19964"/>
                  <a:pt x="1595" y="19244"/>
                  <a:pt x="1595" y="18262"/>
                </a:cubicBezTo>
                <a:cubicBezTo>
                  <a:pt x="1595" y="3338"/>
                  <a:pt x="1595" y="3338"/>
                  <a:pt x="1595" y="3338"/>
                </a:cubicBezTo>
                <a:cubicBezTo>
                  <a:pt x="1595" y="2422"/>
                  <a:pt x="2326" y="1636"/>
                  <a:pt x="3323" y="1636"/>
                </a:cubicBezTo>
                <a:cubicBezTo>
                  <a:pt x="18210" y="1636"/>
                  <a:pt x="18210" y="1636"/>
                  <a:pt x="18210" y="1636"/>
                </a:cubicBezTo>
                <a:cubicBezTo>
                  <a:pt x="18210" y="1636"/>
                  <a:pt x="18210" y="1636"/>
                  <a:pt x="18210" y="1636"/>
                </a:cubicBezTo>
                <a:cubicBezTo>
                  <a:pt x="19207" y="1636"/>
                  <a:pt x="19938" y="2356"/>
                  <a:pt x="19938" y="3338"/>
                </a:cubicBezTo>
                <a:cubicBezTo>
                  <a:pt x="20005" y="18262"/>
                  <a:pt x="20005" y="18262"/>
                  <a:pt x="20005" y="18262"/>
                </a:cubicBezTo>
                <a:cubicBezTo>
                  <a:pt x="20005" y="19178"/>
                  <a:pt x="19207" y="19964"/>
                  <a:pt x="18277" y="19964"/>
                </a:cubicBezTo>
                <a:cubicBezTo>
                  <a:pt x="3323" y="19964"/>
                  <a:pt x="3323" y="19964"/>
                  <a:pt x="3323" y="19964"/>
                </a:cubicBezTo>
                <a:cubicBezTo>
                  <a:pt x="3323" y="19964"/>
                  <a:pt x="3323" y="19964"/>
                  <a:pt x="3323" y="19964"/>
                </a:cubicBezTo>
                <a:moveTo>
                  <a:pt x="19540" y="0"/>
                </a:moveTo>
                <a:cubicBezTo>
                  <a:pt x="19540" y="0"/>
                  <a:pt x="19540" y="0"/>
                  <a:pt x="19540" y="0"/>
                </a:cubicBezTo>
                <a:cubicBezTo>
                  <a:pt x="1994" y="65"/>
                  <a:pt x="1994" y="65"/>
                  <a:pt x="1994" y="65"/>
                </a:cubicBezTo>
                <a:cubicBezTo>
                  <a:pt x="864" y="65"/>
                  <a:pt x="0" y="982"/>
                  <a:pt x="0" y="2029"/>
                </a:cubicBezTo>
                <a:cubicBezTo>
                  <a:pt x="0" y="19571"/>
                  <a:pt x="0" y="19571"/>
                  <a:pt x="0" y="19571"/>
                </a:cubicBezTo>
                <a:cubicBezTo>
                  <a:pt x="0" y="20684"/>
                  <a:pt x="930" y="21600"/>
                  <a:pt x="2060" y="21600"/>
                </a:cubicBezTo>
                <a:cubicBezTo>
                  <a:pt x="2060" y="21600"/>
                  <a:pt x="2060" y="21600"/>
                  <a:pt x="2060" y="21600"/>
                </a:cubicBezTo>
                <a:cubicBezTo>
                  <a:pt x="19540" y="21535"/>
                  <a:pt x="19540" y="21535"/>
                  <a:pt x="19540" y="21535"/>
                </a:cubicBezTo>
                <a:cubicBezTo>
                  <a:pt x="20670" y="21535"/>
                  <a:pt x="21600" y="20618"/>
                  <a:pt x="21600" y="19571"/>
                </a:cubicBezTo>
                <a:cubicBezTo>
                  <a:pt x="21534" y="2029"/>
                  <a:pt x="21534" y="2029"/>
                  <a:pt x="21534" y="2029"/>
                </a:cubicBezTo>
                <a:cubicBezTo>
                  <a:pt x="21534" y="916"/>
                  <a:pt x="20603" y="0"/>
                  <a:pt x="19540" y="0"/>
                </a:cubicBezTo>
              </a:path>
            </a:pathLst>
          </a:custGeom>
          <a:solidFill>
            <a:srgbClr val="FB9E81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1" name="Shape 8291"/>
          <p:cNvSpPr/>
          <p:nvPr/>
        </p:nvSpPr>
        <p:spPr>
          <a:xfrm>
            <a:off x="5124174" y="3291899"/>
            <a:ext cx="587376" cy="5953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495" y="0"/>
                </a:moveTo>
                <a:cubicBezTo>
                  <a:pt x="19495" y="0"/>
                  <a:pt x="19495" y="0"/>
                  <a:pt x="19495" y="0"/>
                </a:cubicBezTo>
                <a:cubicBezTo>
                  <a:pt x="2027" y="0"/>
                  <a:pt x="2027" y="0"/>
                  <a:pt x="2027" y="0"/>
                </a:cubicBezTo>
                <a:cubicBezTo>
                  <a:pt x="858" y="0"/>
                  <a:pt x="0" y="926"/>
                  <a:pt x="0" y="2006"/>
                </a:cubicBezTo>
                <a:cubicBezTo>
                  <a:pt x="0" y="19594"/>
                  <a:pt x="0" y="19594"/>
                  <a:pt x="0" y="19594"/>
                </a:cubicBezTo>
                <a:cubicBezTo>
                  <a:pt x="0" y="20751"/>
                  <a:pt x="936" y="21600"/>
                  <a:pt x="2027" y="21600"/>
                </a:cubicBezTo>
                <a:cubicBezTo>
                  <a:pt x="2027" y="21600"/>
                  <a:pt x="2027" y="21600"/>
                  <a:pt x="2027" y="21600"/>
                </a:cubicBezTo>
                <a:cubicBezTo>
                  <a:pt x="19573" y="21600"/>
                  <a:pt x="19573" y="21600"/>
                  <a:pt x="19573" y="21600"/>
                </a:cubicBezTo>
                <a:cubicBezTo>
                  <a:pt x="20664" y="21600"/>
                  <a:pt x="21600" y="20674"/>
                  <a:pt x="21600" y="19594"/>
                </a:cubicBezTo>
                <a:cubicBezTo>
                  <a:pt x="21522" y="2006"/>
                  <a:pt x="21522" y="2006"/>
                  <a:pt x="21522" y="2006"/>
                </a:cubicBezTo>
                <a:cubicBezTo>
                  <a:pt x="21522" y="849"/>
                  <a:pt x="20664" y="0"/>
                  <a:pt x="19495" y="0"/>
                </a:cubicBezTo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2" name="Shape 8292"/>
          <p:cNvSpPr/>
          <p:nvPr/>
        </p:nvSpPr>
        <p:spPr>
          <a:xfrm>
            <a:off x="5195915" y="3425973"/>
            <a:ext cx="381236" cy="3125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262" h="14616" extrusionOk="0">
                <a:moveTo>
                  <a:pt x="11037" y="4155"/>
                </a:moveTo>
                <a:cubicBezTo>
                  <a:pt x="11037" y="4155"/>
                  <a:pt x="5074" y="11820"/>
                  <a:pt x="2487" y="12318"/>
                </a:cubicBezTo>
                <a:cubicBezTo>
                  <a:pt x="2487" y="12318"/>
                  <a:pt x="-1113" y="12716"/>
                  <a:pt x="349" y="13313"/>
                </a:cubicBezTo>
                <a:cubicBezTo>
                  <a:pt x="349" y="13313"/>
                  <a:pt x="3162" y="15702"/>
                  <a:pt x="11037" y="14010"/>
                </a:cubicBezTo>
                <a:cubicBezTo>
                  <a:pt x="11037" y="14010"/>
                  <a:pt x="13962" y="8336"/>
                  <a:pt x="15875" y="7639"/>
                </a:cubicBezTo>
                <a:cubicBezTo>
                  <a:pt x="15875" y="13512"/>
                  <a:pt x="15875" y="13512"/>
                  <a:pt x="15875" y="13512"/>
                </a:cubicBezTo>
                <a:cubicBezTo>
                  <a:pt x="18350" y="12915"/>
                  <a:pt x="18350" y="12915"/>
                  <a:pt x="18350" y="12915"/>
                </a:cubicBezTo>
                <a:cubicBezTo>
                  <a:pt x="18350" y="12915"/>
                  <a:pt x="18575" y="7838"/>
                  <a:pt x="20262" y="5449"/>
                </a:cubicBezTo>
                <a:cubicBezTo>
                  <a:pt x="20262" y="5449"/>
                  <a:pt x="20487" y="-5898"/>
                  <a:pt x="11037" y="4155"/>
                </a:cubicBezTo>
                <a:close/>
                <a:moveTo>
                  <a:pt x="17450" y="1169"/>
                </a:moveTo>
                <a:cubicBezTo>
                  <a:pt x="15762" y="3658"/>
                  <a:pt x="8787" y="11223"/>
                  <a:pt x="8787" y="11223"/>
                </a:cubicBezTo>
                <a:cubicBezTo>
                  <a:pt x="2824" y="12815"/>
                  <a:pt x="6087" y="10526"/>
                  <a:pt x="6087" y="10526"/>
                </a:cubicBezTo>
                <a:cubicBezTo>
                  <a:pt x="7437" y="9929"/>
                  <a:pt x="12837" y="2762"/>
                  <a:pt x="12837" y="2762"/>
                </a:cubicBezTo>
                <a:cubicBezTo>
                  <a:pt x="17675" y="-1319"/>
                  <a:pt x="17450" y="1169"/>
                  <a:pt x="17450" y="1169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3" name="Shape 8293"/>
          <p:cNvSpPr/>
          <p:nvPr/>
        </p:nvSpPr>
        <p:spPr>
          <a:xfrm>
            <a:off x="5986186" y="2360037"/>
            <a:ext cx="890589" cy="9032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651" y="20024"/>
                </a:moveTo>
                <a:cubicBezTo>
                  <a:pt x="2726" y="20024"/>
                  <a:pt x="1954" y="19262"/>
                  <a:pt x="1954" y="18347"/>
                </a:cubicBezTo>
                <a:cubicBezTo>
                  <a:pt x="1594" y="3659"/>
                  <a:pt x="1594" y="3659"/>
                  <a:pt x="1594" y="3659"/>
                </a:cubicBezTo>
                <a:cubicBezTo>
                  <a:pt x="1594" y="2694"/>
                  <a:pt x="2314" y="1931"/>
                  <a:pt x="3240" y="1931"/>
                </a:cubicBezTo>
                <a:cubicBezTo>
                  <a:pt x="17897" y="1576"/>
                  <a:pt x="17897" y="1576"/>
                  <a:pt x="17897" y="1576"/>
                </a:cubicBezTo>
                <a:cubicBezTo>
                  <a:pt x="17949" y="1576"/>
                  <a:pt x="17949" y="1576"/>
                  <a:pt x="17949" y="1576"/>
                </a:cubicBezTo>
                <a:cubicBezTo>
                  <a:pt x="18874" y="1576"/>
                  <a:pt x="19646" y="2338"/>
                  <a:pt x="19646" y="3253"/>
                </a:cubicBezTo>
                <a:cubicBezTo>
                  <a:pt x="20006" y="17992"/>
                  <a:pt x="20006" y="17992"/>
                  <a:pt x="20006" y="17992"/>
                </a:cubicBezTo>
                <a:cubicBezTo>
                  <a:pt x="20006" y="18906"/>
                  <a:pt x="19286" y="19669"/>
                  <a:pt x="18309" y="19669"/>
                </a:cubicBezTo>
                <a:cubicBezTo>
                  <a:pt x="3651" y="20024"/>
                  <a:pt x="3651" y="20024"/>
                  <a:pt x="3651" y="20024"/>
                </a:cubicBezTo>
                <a:cubicBezTo>
                  <a:pt x="3651" y="20024"/>
                  <a:pt x="3651" y="20024"/>
                  <a:pt x="3651" y="20024"/>
                </a:cubicBezTo>
                <a:moveTo>
                  <a:pt x="19183" y="0"/>
                </a:moveTo>
                <a:cubicBezTo>
                  <a:pt x="19183" y="0"/>
                  <a:pt x="19183" y="0"/>
                  <a:pt x="19131" y="0"/>
                </a:cubicBezTo>
                <a:cubicBezTo>
                  <a:pt x="1954" y="407"/>
                  <a:pt x="1954" y="407"/>
                  <a:pt x="1954" y="407"/>
                </a:cubicBezTo>
                <a:cubicBezTo>
                  <a:pt x="874" y="407"/>
                  <a:pt x="0" y="1321"/>
                  <a:pt x="0" y="2389"/>
                </a:cubicBezTo>
                <a:cubicBezTo>
                  <a:pt x="411" y="19669"/>
                  <a:pt x="411" y="19669"/>
                  <a:pt x="411" y="19669"/>
                </a:cubicBezTo>
                <a:cubicBezTo>
                  <a:pt x="411" y="20736"/>
                  <a:pt x="1337" y="21600"/>
                  <a:pt x="2417" y="21600"/>
                </a:cubicBezTo>
                <a:cubicBezTo>
                  <a:pt x="2417" y="21600"/>
                  <a:pt x="2417" y="21600"/>
                  <a:pt x="2469" y="21600"/>
                </a:cubicBezTo>
                <a:cubicBezTo>
                  <a:pt x="19646" y="21193"/>
                  <a:pt x="19646" y="21193"/>
                  <a:pt x="19646" y="21193"/>
                </a:cubicBezTo>
                <a:cubicBezTo>
                  <a:pt x="20726" y="21193"/>
                  <a:pt x="21600" y="20279"/>
                  <a:pt x="21600" y="19211"/>
                </a:cubicBezTo>
                <a:cubicBezTo>
                  <a:pt x="21189" y="1931"/>
                  <a:pt x="21189" y="1931"/>
                  <a:pt x="21189" y="1931"/>
                </a:cubicBezTo>
                <a:cubicBezTo>
                  <a:pt x="21137" y="864"/>
                  <a:pt x="20263" y="0"/>
                  <a:pt x="19183" y="0"/>
                </a:cubicBezTo>
              </a:path>
            </a:pathLst>
          </a:custGeom>
          <a:solidFill>
            <a:srgbClr val="73CDE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4" name="Shape 8294"/>
          <p:cNvSpPr/>
          <p:nvPr/>
        </p:nvSpPr>
        <p:spPr>
          <a:xfrm>
            <a:off x="6052861" y="2426712"/>
            <a:ext cx="758826" cy="77152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187" y="0"/>
                </a:moveTo>
                <a:cubicBezTo>
                  <a:pt x="19187" y="0"/>
                  <a:pt x="19187" y="0"/>
                  <a:pt x="19126" y="0"/>
                </a:cubicBezTo>
                <a:cubicBezTo>
                  <a:pt x="1931" y="417"/>
                  <a:pt x="1931" y="417"/>
                  <a:pt x="1931" y="417"/>
                </a:cubicBezTo>
                <a:cubicBezTo>
                  <a:pt x="845" y="417"/>
                  <a:pt x="0" y="1309"/>
                  <a:pt x="0" y="2440"/>
                </a:cubicBezTo>
                <a:cubicBezTo>
                  <a:pt x="422" y="19636"/>
                  <a:pt x="422" y="19636"/>
                  <a:pt x="422" y="19636"/>
                </a:cubicBezTo>
                <a:cubicBezTo>
                  <a:pt x="422" y="20707"/>
                  <a:pt x="1327" y="21600"/>
                  <a:pt x="2413" y="21600"/>
                </a:cubicBezTo>
                <a:cubicBezTo>
                  <a:pt x="2413" y="21600"/>
                  <a:pt x="2413" y="21600"/>
                  <a:pt x="2413" y="21600"/>
                </a:cubicBezTo>
                <a:cubicBezTo>
                  <a:pt x="19609" y="21183"/>
                  <a:pt x="19609" y="21183"/>
                  <a:pt x="19609" y="21183"/>
                </a:cubicBezTo>
                <a:cubicBezTo>
                  <a:pt x="20755" y="21183"/>
                  <a:pt x="21600" y="20291"/>
                  <a:pt x="21600" y="19220"/>
                </a:cubicBezTo>
                <a:cubicBezTo>
                  <a:pt x="21178" y="1964"/>
                  <a:pt x="21178" y="1964"/>
                  <a:pt x="21178" y="1964"/>
                </a:cubicBezTo>
                <a:cubicBezTo>
                  <a:pt x="21178" y="893"/>
                  <a:pt x="20273" y="0"/>
                  <a:pt x="19187" y="0"/>
                </a:cubicBezTo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5" name="Shape 8295"/>
          <p:cNvSpPr/>
          <p:nvPr/>
        </p:nvSpPr>
        <p:spPr>
          <a:xfrm>
            <a:off x="6193546" y="2613375"/>
            <a:ext cx="477457" cy="39932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051" h="19829" extrusionOk="0">
                <a:moveTo>
                  <a:pt x="4313" y="13311"/>
                </a:moveTo>
                <a:cubicBezTo>
                  <a:pt x="3509" y="13944"/>
                  <a:pt x="2438" y="13627"/>
                  <a:pt x="1903" y="12679"/>
                </a:cubicBezTo>
                <a:cubicBezTo>
                  <a:pt x="1456" y="11731"/>
                  <a:pt x="1724" y="10467"/>
                  <a:pt x="2527" y="9834"/>
                </a:cubicBezTo>
                <a:cubicBezTo>
                  <a:pt x="3331" y="9307"/>
                  <a:pt x="4402" y="9624"/>
                  <a:pt x="4848" y="10572"/>
                </a:cubicBezTo>
                <a:cubicBezTo>
                  <a:pt x="5384" y="11520"/>
                  <a:pt x="5116" y="12785"/>
                  <a:pt x="4313" y="13311"/>
                </a:cubicBezTo>
                <a:close/>
                <a:moveTo>
                  <a:pt x="8686" y="16156"/>
                </a:moveTo>
                <a:cubicBezTo>
                  <a:pt x="7883" y="16683"/>
                  <a:pt x="6812" y="16367"/>
                  <a:pt x="6365" y="15419"/>
                </a:cubicBezTo>
                <a:cubicBezTo>
                  <a:pt x="5830" y="14470"/>
                  <a:pt x="6098" y="13206"/>
                  <a:pt x="6901" y="12679"/>
                </a:cubicBezTo>
                <a:cubicBezTo>
                  <a:pt x="7704" y="12047"/>
                  <a:pt x="8775" y="12363"/>
                  <a:pt x="9311" y="13311"/>
                </a:cubicBezTo>
                <a:cubicBezTo>
                  <a:pt x="9757" y="14365"/>
                  <a:pt x="9489" y="15524"/>
                  <a:pt x="8686" y="16156"/>
                </a:cubicBezTo>
                <a:close/>
                <a:moveTo>
                  <a:pt x="11185" y="10256"/>
                </a:moveTo>
                <a:cubicBezTo>
                  <a:pt x="10293" y="8465"/>
                  <a:pt x="10293" y="8465"/>
                  <a:pt x="10293" y="8465"/>
                </a:cubicBezTo>
                <a:cubicBezTo>
                  <a:pt x="10204" y="8254"/>
                  <a:pt x="10293" y="7938"/>
                  <a:pt x="10471" y="7832"/>
                </a:cubicBezTo>
                <a:cubicBezTo>
                  <a:pt x="12346" y="6568"/>
                  <a:pt x="12346" y="6568"/>
                  <a:pt x="12346" y="6568"/>
                </a:cubicBezTo>
                <a:cubicBezTo>
                  <a:pt x="11185" y="4355"/>
                  <a:pt x="11185" y="4355"/>
                  <a:pt x="11185" y="4355"/>
                </a:cubicBezTo>
                <a:cubicBezTo>
                  <a:pt x="11096" y="4145"/>
                  <a:pt x="11185" y="3828"/>
                  <a:pt x="11364" y="3618"/>
                </a:cubicBezTo>
                <a:cubicBezTo>
                  <a:pt x="12792" y="2564"/>
                  <a:pt x="12792" y="2564"/>
                  <a:pt x="12792" y="2564"/>
                </a:cubicBezTo>
                <a:cubicBezTo>
                  <a:pt x="13060" y="2459"/>
                  <a:pt x="13327" y="2564"/>
                  <a:pt x="13417" y="2775"/>
                </a:cubicBezTo>
                <a:cubicBezTo>
                  <a:pt x="14488" y="4987"/>
                  <a:pt x="14488" y="4987"/>
                  <a:pt x="14488" y="4987"/>
                </a:cubicBezTo>
                <a:cubicBezTo>
                  <a:pt x="16362" y="3618"/>
                  <a:pt x="16362" y="3618"/>
                  <a:pt x="16362" y="3618"/>
                </a:cubicBezTo>
                <a:cubicBezTo>
                  <a:pt x="16541" y="3512"/>
                  <a:pt x="16808" y="3618"/>
                  <a:pt x="16898" y="3828"/>
                </a:cubicBezTo>
                <a:cubicBezTo>
                  <a:pt x="17790" y="5620"/>
                  <a:pt x="17790" y="5620"/>
                  <a:pt x="17790" y="5620"/>
                </a:cubicBezTo>
                <a:cubicBezTo>
                  <a:pt x="17969" y="5830"/>
                  <a:pt x="17880" y="6147"/>
                  <a:pt x="17701" y="6252"/>
                </a:cubicBezTo>
                <a:cubicBezTo>
                  <a:pt x="15827" y="7516"/>
                  <a:pt x="15827" y="7516"/>
                  <a:pt x="15827" y="7516"/>
                </a:cubicBezTo>
                <a:cubicBezTo>
                  <a:pt x="16898" y="9729"/>
                  <a:pt x="16898" y="9729"/>
                  <a:pt x="16898" y="9729"/>
                </a:cubicBezTo>
                <a:cubicBezTo>
                  <a:pt x="17076" y="9940"/>
                  <a:pt x="16987" y="10256"/>
                  <a:pt x="16808" y="10467"/>
                </a:cubicBezTo>
                <a:cubicBezTo>
                  <a:pt x="15291" y="11415"/>
                  <a:pt x="15291" y="11415"/>
                  <a:pt x="15291" y="11415"/>
                </a:cubicBezTo>
                <a:cubicBezTo>
                  <a:pt x="15113" y="11626"/>
                  <a:pt x="14845" y="11520"/>
                  <a:pt x="14756" y="11309"/>
                </a:cubicBezTo>
                <a:cubicBezTo>
                  <a:pt x="13595" y="9097"/>
                  <a:pt x="13595" y="9097"/>
                  <a:pt x="13595" y="9097"/>
                </a:cubicBezTo>
                <a:cubicBezTo>
                  <a:pt x="11810" y="10467"/>
                  <a:pt x="11810" y="10467"/>
                  <a:pt x="11810" y="10467"/>
                </a:cubicBezTo>
                <a:cubicBezTo>
                  <a:pt x="11542" y="10572"/>
                  <a:pt x="11275" y="10467"/>
                  <a:pt x="11185" y="10256"/>
                </a:cubicBezTo>
                <a:close/>
                <a:moveTo>
                  <a:pt x="2527" y="6989"/>
                </a:moveTo>
                <a:cubicBezTo>
                  <a:pt x="28" y="9097"/>
                  <a:pt x="-775" y="13206"/>
                  <a:pt x="832" y="16367"/>
                </a:cubicBezTo>
                <a:cubicBezTo>
                  <a:pt x="2438" y="19633"/>
                  <a:pt x="5919" y="20687"/>
                  <a:pt x="8686" y="19107"/>
                </a:cubicBezTo>
                <a:cubicBezTo>
                  <a:pt x="8686" y="19107"/>
                  <a:pt x="8686" y="19107"/>
                  <a:pt x="8686" y="19107"/>
                </a:cubicBezTo>
                <a:cubicBezTo>
                  <a:pt x="17523" y="12890"/>
                  <a:pt x="17523" y="12890"/>
                  <a:pt x="17523" y="12890"/>
                </a:cubicBezTo>
                <a:cubicBezTo>
                  <a:pt x="17523" y="12785"/>
                  <a:pt x="17523" y="12785"/>
                  <a:pt x="17523" y="12785"/>
                </a:cubicBezTo>
                <a:cubicBezTo>
                  <a:pt x="20022" y="10783"/>
                  <a:pt x="20825" y="6673"/>
                  <a:pt x="19218" y="3407"/>
                </a:cubicBezTo>
                <a:cubicBezTo>
                  <a:pt x="17612" y="246"/>
                  <a:pt x="14131" y="-913"/>
                  <a:pt x="11364" y="773"/>
                </a:cubicBezTo>
                <a:cubicBezTo>
                  <a:pt x="11364" y="667"/>
                  <a:pt x="11364" y="667"/>
                  <a:pt x="11364" y="667"/>
                </a:cubicBezTo>
                <a:cubicBezTo>
                  <a:pt x="2527" y="6884"/>
                  <a:pt x="2527" y="6884"/>
                  <a:pt x="2527" y="6884"/>
                </a:cubicBezTo>
                <a:lnTo>
                  <a:pt x="2527" y="6989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6" name="Shape 8296"/>
          <p:cNvSpPr/>
          <p:nvPr/>
        </p:nvSpPr>
        <p:spPr>
          <a:xfrm>
            <a:off x="5884586" y="3425249"/>
            <a:ext cx="1065214" cy="10826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35" y="0"/>
                </a:moveTo>
                <a:cubicBezTo>
                  <a:pt x="2022" y="0"/>
                  <a:pt x="2022" y="0"/>
                  <a:pt x="2022" y="0"/>
                </a:cubicBezTo>
                <a:cubicBezTo>
                  <a:pt x="904" y="0"/>
                  <a:pt x="0" y="891"/>
                  <a:pt x="0" y="1994"/>
                </a:cubicBezTo>
                <a:cubicBezTo>
                  <a:pt x="0" y="19563"/>
                  <a:pt x="0" y="19563"/>
                  <a:pt x="0" y="19563"/>
                </a:cubicBezTo>
                <a:cubicBezTo>
                  <a:pt x="0" y="20666"/>
                  <a:pt x="904" y="21600"/>
                  <a:pt x="2022" y="21600"/>
                </a:cubicBezTo>
                <a:cubicBezTo>
                  <a:pt x="19535" y="21600"/>
                  <a:pt x="19535" y="21600"/>
                  <a:pt x="19535" y="21600"/>
                </a:cubicBezTo>
                <a:cubicBezTo>
                  <a:pt x="20696" y="21600"/>
                  <a:pt x="21600" y="20666"/>
                  <a:pt x="21600" y="19563"/>
                </a:cubicBezTo>
                <a:cubicBezTo>
                  <a:pt x="21600" y="1994"/>
                  <a:pt x="21600" y="1994"/>
                  <a:pt x="21600" y="1994"/>
                </a:cubicBezTo>
                <a:cubicBezTo>
                  <a:pt x="21600" y="891"/>
                  <a:pt x="20696" y="0"/>
                  <a:pt x="19535" y="0"/>
                </a:cubicBezTo>
              </a:path>
            </a:pathLst>
          </a:custGeom>
          <a:solidFill>
            <a:srgbClr val="B5DC7D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7" name="Shape 8297"/>
          <p:cNvSpPr/>
          <p:nvPr/>
        </p:nvSpPr>
        <p:spPr>
          <a:xfrm>
            <a:off x="5963961" y="3512563"/>
            <a:ext cx="906464" cy="9207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605"/>
                </a:moveTo>
                <a:cubicBezTo>
                  <a:pt x="21600" y="20702"/>
                  <a:pt x="20692" y="21600"/>
                  <a:pt x="19581" y="21600"/>
                </a:cubicBezTo>
                <a:cubicBezTo>
                  <a:pt x="2019" y="21600"/>
                  <a:pt x="2019" y="21600"/>
                  <a:pt x="2019" y="21600"/>
                </a:cubicBezTo>
                <a:cubicBezTo>
                  <a:pt x="908" y="21600"/>
                  <a:pt x="0" y="20702"/>
                  <a:pt x="0" y="19605"/>
                </a:cubicBezTo>
                <a:cubicBezTo>
                  <a:pt x="0" y="1995"/>
                  <a:pt x="0" y="1995"/>
                  <a:pt x="0" y="1995"/>
                </a:cubicBezTo>
                <a:cubicBezTo>
                  <a:pt x="0" y="898"/>
                  <a:pt x="908" y="0"/>
                  <a:pt x="2019" y="0"/>
                </a:cubicBezTo>
                <a:cubicBezTo>
                  <a:pt x="19581" y="0"/>
                  <a:pt x="19581" y="0"/>
                  <a:pt x="19581" y="0"/>
                </a:cubicBezTo>
                <a:cubicBezTo>
                  <a:pt x="20692" y="0"/>
                  <a:pt x="21600" y="898"/>
                  <a:pt x="21600" y="1995"/>
                </a:cubicBezTo>
                <a:lnTo>
                  <a:pt x="21600" y="19605"/>
                </a:ln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8" name="Shape 8298"/>
          <p:cNvSpPr/>
          <p:nvPr/>
        </p:nvSpPr>
        <p:spPr>
          <a:xfrm>
            <a:off x="6116361" y="3733224"/>
            <a:ext cx="668339" cy="46475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509" extrusionOk="0">
                <a:moveTo>
                  <a:pt x="13166" y="16668"/>
                </a:moveTo>
                <a:cubicBezTo>
                  <a:pt x="11109" y="16668"/>
                  <a:pt x="9463" y="14301"/>
                  <a:pt x="9394" y="11342"/>
                </a:cubicBezTo>
                <a:cubicBezTo>
                  <a:pt x="9394" y="8384"/>
                  <a:pt x="11040" y="5918"/>
                  <a:pt x="13097" y="5918"/>
                </a:cubicBezTo>
                <a:cubicBezTo>
                  <a:pt x="15154" y="5918"/>
                  <a:pt x="16869" y="8285"/>
                  <a:pt x="16869" y="11244"/>
                </a:cubicBezTo>
                <a:cubicBezTo>
                  <a:pt x="16869" y="14203"/>
                  <a:pt x="15223" y="16570"/>
                  <a:pt x="13166" y="16668"/>
                </a:cubicBezTo>
                <a:close/>
                <a:moveTo>
                  <a:pt x="13097" y="4537"/>
                </a:moveTo>
                <a:cubicBezTo>
                  <a:pt x="10491" y="4636"/>
                  <a:pt x="8434" y="7693"/>
                  <a:pt x="8503" y="11342"/>
                </a:cubicBezTo>
                <a:cubicBezTo>
                  <a:pt x="8503" y="15090"/>
                  <a:pt x="10629" y="18049"/>
                  <a:pt x="13166" y="17951"/>
                </a:cubicBezTo>
                <a:cubicBezTo>
                  <a:pt x="15771" y="17951"/>
                  <a:pt x="17829" y="14893"/>
                  <a:pt x="17760" y="11244"/>
                </a:cubicBezTo>
                <a:cubicBezTo>
                  <a:pt x="17760" y="7496"/>
                  <a:pt x="15634" y="4537"/>
                  <a:pt x="13097" y="4537"/>
                </a:cubicBezTo>
                <a:close/>
                <a:moveTo>
                  <a:pt x="19611" y="5129"/>
                </a:moveTo>
                <a:cubicBezTo>
                  <a:pt x="19063" y="5129"/>
                  <a:pt x="18651" y="4537"/>
                  <a:pt x="18651" y="3847"/>
                </a:cubicBezTo>
                <a:cubicBezTo>
                  <a:pt x="18651" y="3058"/>
                  <a:pt x="19063" y="2466"/>
                  <a:pt x="19611" y="2466"/>
                </a:cubicBezTo>
                <a:cubicBezTo>
                  <a:pt x="20091" y="2466"/>
                  <a:pt x="20503" y="3058"/>
                  <a:pt x="20503" y="3748"/>
                </a:cubicBezTo>
                <a:cubicBezTo>
                  <a:pt x="20503" y="4537"/>
                  <a:pt x="20091" y="5129"/>
                  <a:pt x="19611" y="5129"/>
                </a:cubicBezTo>
                <a:close/>
                <a:moveTo>
                  <a:pt x="13166" y="19332"/>
                </a:moveTo>
                <a:cubicBezTo>
                  <a:pt x="10080" y="19332"/>
                  <a:pt x="7543" y="15781"/>
                  <a:pt x="7543" y="11342"/>
                </a:cubicBezTo>
                <a:cubicBezTo>
                  <a:pt x="7474" y="6904"/>
                  <a:pt x="9943" y="3255"/>
                  <a:pt x="13097" y="3255"/>
                </a:cubicBezTo>
                <a:cubicBezTo>
                  <a:pt x="16183" y="3156"/>
                  <a:pt x="18720" y="6707"/>
                  <a:pt x="18720" y="11145"/>
                </a:cubicBezTo>
                <a:cubicBezTo>
                  <a:pt x="18789" y="15584"/>
                  <a:pt x="16320" y="19233"/>
                  <a:pt x="13166" y="19332"/>
                </a:cubicBezTo>
                <a:close/>
                <a:moveTo>
                  <a:pt x="6103" y="5326"/>
                </a:moveTo>
                <a:cubicBezTo>
                  <a:pt x="6103" y="5721"/>
                  <a:pt x="5897" y="6016"/>
                  <a:pt x="5623" y="6016"/>
                </a:cubicBezTo>
                <a:cubicBezTo>
                  <a:pt x="1920" y="6115"/>
                  <a:pt x="1920" y="6115"/>
                  <a:pt x="1920" y="6115"/>
                </a:cubicBezTo>
                <a:cubicBezTo>
                  <a:pt x="1646" y="6115"/>
                  <a:pt x="1440" y="5819"/>
                  <a:pt x="1440" y="5425"/>
                </a:cubicBezTo>
                <a:cubicBezTo>
                  <a:pt x="1440" y="4142"/>
                  <a:pt x="1440" y="4142"/>
                  <a:pt x="1440" y="4142"/>
                </a:cubicBezTo>
                <a:cubicBezTo>
                  <a:pt x="1440" y="3748"/>
                  <a:pt x="1646" y="3452"/>
                  <a:pt x="1851" y="3452"/>
                </a:cubicBezTo>
                <a:cubicBezTo>
                  <a:pt x="5623" y="3353"/>
                  <a:pt x="5623" y="3353"/>
                  <a:pt x="5623" y="3353"/>
                </a:cubicBezTo>
                <a:cubicBezTo>
                  <a:pt x="5897" y="3353"/>
                  <a:pt x="6103" y="3649"/>
                  <a:pt x="6103" y="4044"/>
                </a:cubicBezTo>
                <a:lnTo>
                  <a:pt x="6103" y="5326"/>
                </a:lnTo>
                <a:close/>
                <a:moveTo>
                  <a:pt x="20023" y="1085"/>
                </a:moveTo>
                <a:cubicBezTo>
                  <a:pt x="6994" y="1282"/>
                  <a:pt x="6994" y="1282"/>
                  <a:pt x="6994" y="1282"/>
                </a:cubicBezTo>
                <a:cubicBezTo>
                  <a:pt x="6994" y="1973"/>
                  <a:pt x="6994" y="1973"/>
                  <a:pt x="6994" y="1973"/>
                </a:cubicBezTo>
                <a:cubicBezTo>
                  <a:pt x="2331" y="2071"/>
                  <a:pt x="2331" y="2071"/>
                  <a:pt x="2331" y="2071"/>
                </a:cubicBezTo>
                <a:cubicBezTo>
                  <a:pt x="2331" y="1381"/>
                  <a:pt x="2331" y="1381"/>
                  <a:pt x="2331" y="1381"/>
                </a:cubicBezTo>
                <a:cubicBezTo>
                  <a:pt x="1371" y="1381"/>
                  <a:pt x="1371" y="1381"/>
                  <a:pt x="1371" y="1381"/>
                </a:cubicBezTo>
                <a:cubicBezTo>
                  <a:pt x="617" y="1479"/>
                  <a:pt x="0" y="2367"/>
                  <a:pt x="0" y="3452"/>
                </a:cubicBezTo>
                <a:cubicBezTo>
                  <a:pt x="137" y="19529"/>
                  <a:pt x="137" y="19529"/>
                  <a:pt x="137" y="19529"/>
                </a:cubicBezTo>
                <a:cubicBezTo>
                  <a:pt x="137" y="20712"/>
                  <a:pt x="823" y="21600"/>
                  <a:pt x="1577" y="21501"/>
                </a:cubicBezTo>
                <a:cubicBezTo>
                  <a:pt x="20229" y="21205"/>
                  <a:pt x="20229" y="21205"/>
                  <a:pt x="20229" y="21205"/>
                </a:cubicBezTo>
                <a:cubicBezTo>
                  <a:pt x="20983" y="21205"/>
                  <a:pt x="21600" y="20318"/>
                  <a:pt x="21600" y="19134"/>
                </a:cubicBezTo>
                <a:cubicBezTo>
                  <a:pt x="21463" y="3058"/>
                  <a:pt x="21463" y="3058"/>
                  <a:pt x="21463" y="3058"/>
                </a:cubicBezTo>
                <a:cubicBezTo>
                  <a:pt x="21463" y="1973"/>
                  <a:pt x="20846" y="1085"/>
                  <a:pt x="20023" y="1085"/>
                </a:cubicBezTo>
                <a:close/>
                <a:moveTo>
                  <a:pt x="6514" y="690"/>
                </a:moveTo>
                <a:cubicBezTo>
                  <a:pt x="6514" y="296"/>
                  <a:pt x="6309" y="0"/>
                  <a:pt x="6034" y="0"/>
                </a:cubicBezTo>
                <a:cubicBezTo>
                  <a:pt x="3223" y="99"/>
                  <a:pt x="3223" y="99"/>
                  <a:pt x="3223" y="99"/>
                </a:cubicBezTo>
                <a:cubicBezTo>
                  <a:pt x="3017" y="99"/>
                  <a:pt x="2811" y="395"/>
                  <a:pt x="2811" y="690"/>
                </a:cubicBezTo>
                <a:cubicBezTo>
                  <a:pt x="2811" y="1381"/>
                  <a:pt x="2811" y="1381"/>
                  <a:pt x="2811" y="1381"/>
                </a:cubicBezTo>
                <a:cubicBezTo>
                  <a:pt x="6514" y="1381"/>
                  <a:pt x="6514" y="1381"/>
                  <a:pt x="6514" y="1381"/>
                </a:cubicBezTo>
                <a:lnTo>
                  <a:pt x="6514" y="690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299" name="Shape 8299"/>
          <p:cNvSpPr/>
          <p:nvPr/>
        </p:nvSpPr>
        <p:spPr>
          <a:xfrm>
            <a:off x="5019399" y="4087238"/>
            <a:ext cx="795339" cy="8080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26" y="0"/>
                </a:moveTo>
                <a:cubicBezTo>
                  <a:pt x="2016" y="0"/>
                  <a:pt x="2016" y="0"/>
                  <a:pt x="2016" y="0"/>
                </a:cubicBezTo>
                <a:cubicBezTo>
                  <a:pt x="864" y="0"/>
                  <a:pt x="0" y="909"/>
                  <a:pt x="0" y="1989"/>
                </a:cubicBezTo>
                <a:cubicBezTo>
                  <a:pt x="0" y="19611"/>
                  <a:pt x="0" y="19611"/>
                  <a:pt x="0" y="19611"/>
                </a:cubicBezTo>
                <a:cubicBezTo>
                  <a:pt x="0" y="20691"/>
                  <a:pt x="864" y="21600"/>
                  <a:pt x="2016" y="21600"/>
                </a:cubicBezTo>
                <a:cubicBezTo>
                  <a:pt x="19526" y="21600"/>
                  <a:pt x="19526" y="21600"/>
                  <a:pt x="19526" y="21600"/>
                </a:cubicBezTo>
                <a:cubicBezTo>
                  <a:pt x="20678" y="21600"/>
                  <a:pt x="21600" y="20691"/>
                  <a:pt x="21600" y="19611"/>
                </a:cubicBezTo>
                <a:cubicBezTo>
                  <a:pt x="21600" y="1989"/>
                  <a:pt x="21600" y="1989"/>
                  <a:pt x="21600" y="1989"/>
                </a:cubicBezTo>
                <a:cubicBezTo>
                  <a:pt x="21600" y="909"/>
                  <a:pt x="20678" y="0"/>
                  <a:pt x="19526" y="0"/>
                </a:cubicBezTo>
              </a:path>
            </a:pathLst>
          </a:custGeom>
          <a:solidFill>
            <a:srgbClr val="3CFFD5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0" name="Shape 8300"/>
          <p:cNvSpPr/>
          <p:nvPr/>
        </p:nvSpPr>
        <p:spPr>
          <a:xfrm>
            <a:off x="5076549" y="4150738"/>
            <a:ext cx="679451" cy="6905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606"/>
                </a:moveTo>
                <a:cubicBezTo>
                  <a:pt x="21600" y="20670"/>
                  <a:pt x="20723" y="21600"/>
                  <a:pt x="19575" y="21600"/>
                </a:cubicBezTo>
                <a:cubicBezTo>
                  <a:pt x="2025" y="21600"/>
                  <a:pt x="2025" y="21600"/>
                  <a:pt x="2025" y="21600"/>
                </a:cubicBezTo>
                <a:cubicBezTo>
                  <a:pt x="945" y="21600"/>
                  <a:pt x="0" y="20670"/>
                  <a:pt x="0" y="19606"/>
                </a:cubicBezTo>
                <a:cubicBezTo>
                  <a:pt x="0" y="2060"/>
                  <a:pt x="0" y="2060"/>
                  <a:pt x="0" y="2060"/>
                </a:cubicBezTo>
                <a:cubicBezTo>
                  <a:pt x="0" y="930"/>
                  <a:pt x="945" y="0"/>
                  <a:pt x="2025" y="0"/>
                </a:cubicBezTo>
                <a:cubicBezTo>
                  <a:pt x="19575" y="0"/>
                  <a:pt x="19575" y="0"/>
                  <a:pt x="19575" y="0"/>
                </a:cubicBezTo>
                <a:cubicBezTo>
                  <a:pt x="20723" y="0"/>
                  <a:pt x="21600" y="930"/>
                  <a:pt x="21600" y="2060"/>
                </a:cubicBezTo>
                <a:lnTo>
                  <a:pt x="21600" y="19606"/>
                </a:ln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1" name="Shape 8301"/>
          <p:cNvSpPr/>
          <p:nvPr/>
        </p:nvSpPr>
        <p:spPr>
          <a:xfrm>
            <a:off x="5273833" y="4223763"/>
            <a:ext cx="289640" cy="5349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02" h="21600" extrusionOk="0">
                <a:moveTo>
                  <a:pt x="15660" y="5657"/>
                </a:moveTo>
                <a:cubicBezTo>
                  <a:pt x="14408" y="86"/>
                  <a:pt x="14408" y="86"/>
                  <a:pt x="14408" y="86"/>
                </a:cubicBezTo>
                <a:cubicBezTo>
                  <a:pt x="8303" y="0"/>
                  <a:pt x="8303" y="0"/>
                  <a:pt x="8303" y="0"/>
                </a:cubicBezTo>
                <a:cubicBezTo>
                  <a:pt x="6268" y="5400"/>
                  <a:pt x="6268" y="5400"/>
                  <a:pt x="6268" y="5400"/>
                </a:cubicBezTo>
                <a:cubicBezTo>
                  <a:pt x="2668" y="6343"/>
                  <a:pt x="164" y="8229"/>
                  <a:pt x="8" y="10543"/>
                </a:cubicBezTo>
                <a:cubicBezTo>
                  <a:pt x="-149" y="12857"/>
                  <a:pt x="2042" y="14914"/>
                  <a:pt x="5486" y="15857"/>
                </a:cubicBezTo>
                <a:cubicBezTo>
                  <a:pt x="6894" y="21514"/>
                  <a:pt x="6894" y="21514"/>
                  <a:pt x="6894" y="21514"/>
                </a:cubicBezTo>
                <a:cubicBezTo>
                  <a:pt x="12999" y="21600"/>
                  <a:pt x="12999" y="21600"/>
                  <a:pt x="12999" y="21600"/>
                </a:cubicBezTo>
                <a:cubicBezTo>
                  <a:pt x="14877" y="16114"/>
                  <a:pt x="14877" y="16114"/>
                  <a:pt x="14877" y="16114"/>
                </a:cubicBezTo>
                <a:cubicBezTo>
                  <a:pt x="18477" y="15257"/>
                  <a:pt x="21138" y="13286"/>
                  <a:pt x="21294" y="10971"/>
                </a:cubicBezTo>
                <a:cubicBezTo>
                  <a:pt x="21451" y="8743"/>
                  <a:pt x="19103" y="6686"/>
                  <a:pt x="15660" y="5657"/>
                </a:cubicBezTo>
                <a:close/>
                <a:moveTo>
                  <a:pt x="10181" y="15086"/>
                </a:moveTo>
                <a:cubicBezTo>
                  <a:pt x="5642" y="15000"/>
                  <a:pt x="2042" y="12943"/>
                  <a:pt x="2355" y="10457"/>
                </a:cubicBezTo>
                <a:cubicBezTo>
                  <a:pt x="2512" y="8057"/>
                  <a:pt x="6268" y="6086"/>
                  <a:pt x="10808" y="6171"/>
                </a:cubicBezTo>
                <a:cubicBezTo>
                  <a:pt x="15190" y="6343"/>
                  <a:pt x="18790" y="8400"/>
                  <a:pt x="18634" y="10800"/>
                </a:cubicBezTo>
                <a:cubicBezTo>
                  <a:pt x="18321" y="13286"/>
                  <a:pt x="14564" y="15257"/>
                  <a:pt x="10181" y="15086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2" name="Shape 8302"/>
          <p:cNvSpPr/>
          <p:nvPr/>
        </p:nvSpPr>
        <p:spPr>
          <a:xfrm>
            <a:off x="5357536" y="4425374"/>
            <a:ext cx="76201" cy="139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800" y="7200"/>
                </a:moveTo>
                <a:cubicBezTo>
                  <a:pt x="16200" y="7200"/>
                  <a:pt x="15600" y="7200"/>
                  <a:pt x="15000" y="7527"/>
                </a:cubicBezTo>
                <a:cubicBezTo>
                  <a:pt x="2400" y="0"/>
                  <a:pt x="2400" y="0"/>
                  <a:pt x="2400" y="0"/>
                </a:cubicBezTo>
                <a:cubicBezTo>
                  <a:pt x="0" y="1309"/>
                  <a:pt x="0" y="1309"/>
                  <a:pt x="0" y="1309"/>
                </a:cubicBezTo>
                <a:cubicBezTo>
                  <a:pt x="11400" y="8836"/>
                  <a:pt x="11400" y="8836"/>
                  <a:pt x="11400" y="8836"/>
                </a:cubicBezTo>
                <a:cubicBezTo>
                  <a:pt x="11400" y="9164"/>
                  <a:pt x="11400" y="9818"/>
                  <a:pt x="11400" y="10145"/>
                </a:cubicBezTo>
                <a:cubicBezTo>
                  <a:pt x="11400" y="11127"/>
                  <a:pt x="12600" y="12436"/>
                  <a:pt x="14400" y="12764"/>
                </a:cubicBezTo>
                <a:cubicBezTo>
                  <a:pt x="13800" y="21600"/>
                  <a:pt x="13800" y="21600"/>
                  <a:pt x="13800" y="21600"/>
                </a:cubicBezTo>
                <a:cubicBezTo>
                  <a:pt x="16800" y="21600"/>
                  <a:pt x="16800" y="21600"/>
                  <a:pt x="16800" y="21600"/>
                </a:cubicBezTo>
                <a:cubicBezTo>
                  <a:pt x="18000" y="12764"/>
                  <a:pt x="18000" y="12764"/>
                  <a:pt x="18000" y="12764"/>
                </a:cubicBezTo>
                <a:cubicBezTo>
                  <a:pt x="20400" y="12436"/>
                  <a:pt x="21600" y="11455"/>
                  <a:pt x="21600" y="10145"/>
                </a:cubicBezTo>
                <a:cubicBezTo>
                  <a:pt x="21600" y="8836"/>
                  <a:pt x="19800" y="7200"/>
                  <a:pt x="16800" y="720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3" name="Shape 8303"/>
          <p:cNvSpPr/>
          <p:nvPr/>
        </p:nvSpPr>
        <p:spPr>
          <a:xfrm>
            <a:off x="5313086" y="4483343"/>
            <a:ext cx="12701" cy="12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8981" extrusionOk="0">
                <a:moveTo>
                  <a:pt x="10800" y="0"/>
                </a:moveTo>
                <a:cubicBezTo>
                  <a:pt x="7200" y="0"/>
                  <a:pt x="0" y="3600"/>
                  <a:pt x="0" y="7200"/>
                </a:cubicBezTo>
                <a:cubicBezTo>
                  <a:pt x="0" y="14400"/>
                  <a:pt x="3600" y="18000"/>
                  <a:pt x="10800" y="18000"/>
                </a:cubicBezTo>
                <a:cubicBezTo>
                  <a:pt x="18000" y="21600"/>
                  <a:pt x="21600" y="14400"/>
                  <a:pt x="21600" y="10800"/>
                </a:cubicBezTo>
                <a:cubicBezTo>
                  <a:pt x="21600" y="3600"/>
                  <a:pt x="18000" y="0"/>
                  <a:pt x="10800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4" name="Shape 8304"/>
          <p:cNvSpPr/>
          <p:nvPr/>
        </p:nvSpPr>
        <p:spPr>
          <a:xfrm>
            <a:off x="5405161" y="4580949"/>
            <a:ext cx="14289" cy="12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3600" y="0"/>
                  <a:pt x="0" y="3600"/>
                  <a:pt x="0" y="10800"/>
                </a:cubicBezTo>
                <a:cubicBezTo>
                  <a:pt x="0" y="18000"/>
                  <a:pt x="3600" y="21600"/>
                  <a:pt x="10800" y="21600"/>
                </a:cubicBezTo>
                <a:cubicBezTo>
                  <a:pt x="14400" y="21600"/>
                  <a:pt x="21600" y="18000"/>
                  <a:pt x="21600" y="10800"/>
                </a:cubicBezTo>
                <a:cubicBezTo>
                  <a:pt x="21600" y="7200"/>
                  <a:pt x="14400" y="0"/>
                  <a:pt x="10800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5" name="Shape 8305"/>
          <p:cNvSpPr/>
          <p:nvPr/>
        </p:nvSpPr>
        <p:spPr>
          <a:xfrm>
            <a:off x="5505174" y="4490463"/>
            <a:ext cx="12701" cy="12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7200" y="0"/>
                  <a:pt x="0" y="3600"/>
                  <a:pt x="0" y="10800"/>
                </a:cubicBezTo>
                <a:cubicBezTo>
                  <a:pt x="0" y="18000"/>
                  <a:pt x="7200" y="21600"/>
                  <a:pt x="10800" y="21600"/>
                </a:cubicBezTo>
                <a:cubicBezTo>
                  <a:pt x="18000" y="21600"/>
                  <a:pt x="21600" y="18000"/>
                  <a:pt x="21600" y="10800"/>
                </a:cubicBezTo>
                <a:cubicBezTo>
                  <a:pt x="21600" y="7200"/>
                  <a:pt x="18000" y="0"/>
                  <a:pt x="10800" y="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6" name="Shape 8306"/>
          <p:cNvSpPr/>
          <p:nvPr/>
        </p:nvSpPr>
        <p:spPr>
          <a:xfrm>
            <a:off x="5411511" y="4382513"/>
            <a:ext cx="14289" cy="12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21600"/>
                </a:moveTo>
                <a:cubicBezTo>
                  <a:pt x="18000" y="21600"/>
                  <a:pt x="21600" y="18000"/>
                  <a:pt x="21600" y="10800"/>
                </a:cubicBezTo>
                <a:cubicBezTo>
                  <a:pt x="21600" y="7200"/>
                  <a:pt x="18000" y="0"/>
                  <a:pt x="10800" y="0"/>
                </a:cubicBezTo>
                <a:cubicBezTo>
                  <a:pt x="7200" y="0"/>
                  <a:pt x="3600" y="3600"/>
                  <a:pt x="0" y="10800"/>
                </a:cubicBezTo>
                <a:cubicBezTo>
                  <a:pt x="0" y="18000"/>
                  <a:pt x="7200" y="21600"/>
                  <a:pt x="10800" y="2160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7" name="Shape 8307"/>
          <p:cNvSpPr/>
          <p:nvPr/>
        </p:nvSpPr>
        <p:spPr>
          <a:xfrm>
            <a:off x="5332414" y="6207047"/>
            <a:ext cx="1527176" cy="12701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8" name="Shape 8308"/>
          <p:cNvSpPr/>
          <p:nvPr/>
        </p:nvSpPr>
        <p:spPr>
          <a:xfrm>
            <a:off x="5333207" y="6341190"/>
            <a:ext cx="1525589" cy="12701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09" name="Shape 8309"/>
          <p:cNvSpPr/>
          <p:nvPr/>
        </p:nvSpPr>
        <p:spPr>
          <a:xfrm>
            <a:off x="5334001" y="6464222"/>
            <a:ext cx="1524001" cy="12701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10" name="Shape 8310"/>
          <p:cNvSpPr/>
          <p:nvPr/>
        </p:nvSpPr>
        <p:spPr>
          <a:xfrm>
            <a:off x="5967136" y="4658738"/>
            <a:ext cx="915989" cy="44926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50" y="0"/>
                </a:moveTo>
                <a:cubicBezTo>
                  <a:pt x="2000" y="0"/>
                  <a:pt x="2000" y="0"/>
                  <a:pt x="2000" y="0"/>
                </a:cubicBezTo>
                <a:cubicBezTo>
                  <a:pt x="900" y="0"/>
                  <a:pt x="0" y="819"/>
                  <a:pt x="0" y="1945"/>
                </a:cubicBezTo>
                <a:cubicBezTo>
                  <a:pt x="0" y="19553"/>
                  <a:pt x="0" y="19553"/>
                  <a:pt x="0" y="19553"/>
                </a:cubicBezTo>
                <a:cubicBezTo>
                  <a:pt x="0" y="20679"/>
                  <a:pt x="900" y="21600"/>
                  <a:pt x="2000" y="21600"/>
                </a:cubicBezTo>
                <a:cubicBezTo>
                  <a:pt x="19550" y="21600"/>
                  <a:pt x="19550" y="21600"/>
                  <a:pt x="19550" y="21600"/>
                </a:cubicBezTo>
                <a:cubicBezTo>
                  <a:pt x="20700" y="21600"/>
                  <a:pt x="21600" y="20679"/>
                  <a:pt x="21600" y="19553"/>
                </a:cubicBezTo>
                <a:cubicBezTo>
                  <a:pt x="21600" y="1945"/>
                  <a:pt x="21600" y="1945"/>
                  <a:pt x="21600" y="1945"/>
                </a:cubicBezTo>
                <a:cubicBezTo>
                  <a:pt x="21600" y="819"/>
                  <a:pt x="20700" y="0"/>
                  <a:pt x="19550" y="0"/>
                </a:cubicBezTo>
              </a:path>
            </a:pathLst>
          </a:custGeom>
          <a:solidFill>
            <a:srgbClr val="AB74D5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11" name="Shape 8311"/>
          <p:cNvSpPr/>
          <p:nvPr/>
        </p:nvSpPr>
        <p:spPr>
          <a:xfrm>
            <a:off x="6033811" y="4693663"/>
            <a:ext cx="782639" cy="38417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19571"/>
                </a:moveTo>
                <a:cubicBezTo>
                  <a:pt x="21600" y="20645"/>
                  <a:pt x="20722" y="21600"/>
                  <a:pt x="19551" y="21600"/>
                </a:cubicBezTo>
                <a:cubicBezTo>
                  <a:pt x="2049" y="21600"/>
                  <a:pt x="2049" y="21600"/>
                  <a:pt x="2049" y="21600"/>
                </a:cubicBezTo>
                <a:cubicBezTo>
                  <a:pt x="937" y="21600"/>
                  <a:pt x="0" y="20645"/>
                  <a:pt x="0" y="19571"/>
                </a:cubicBezTo>
                <a:cubicBezTo>
                  <a:pt x="0" y="2029"/>
                  <a:pt x="0" y="2029"/>
                  <a:pt x="0" y="2029"/>
                </a:cubicBezTo>
                <a:cubicBezTo>
                  <a:pt x="0" y="955"/>
                  <a:pt x="937" y="0"/>
                  <a:pt x="2049" y="0"/>
                </a:cubicBezTo>
                <a:cubicBezTo>
                  <a:pt x="19551" y="0"/>
                  <a:pt x="19551" y="0"/>
                  <a:pt x="19551" y="0"/>
                </a:cubicBezTo>
                <a:cubicBezTo>
                  <a:pt x="20722" y="0"/>
                  <a:pt x="21600" y="955"/>
                  <a:pt x="21600" y="2029"/>
                </a:cubicBezTo>
                <a:lnTo>
                  <a:pt x="21600" y="19571"/>
                </a:ln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12" name="Shape 8312"/>
          <p:cNvSpPr/>
          <p:nvPr/>
        </p:nvSpPr>
        <p:spPr>
          <a:xfrm>
            <a:off x="6167161" y="4739699"/>
            <a:ext cx="157164" cy="2524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378" y="7624"/>
                </a:moveTo>
                <a:cubicBezTo>
                  <a:pt x="6422" y="6171"/>
                  <a:pt x="8757" y="5445"/>
                  <a:pt x="11384" y="5445"/>
                </a:cubicBezTo>
                <a:cubicBezTo>
                  <a:pt x="13135" y="5445"/>
                  <a:pt x="14595" y="5627"/>
                  <a:pt x="15762" y="5990"/>
                </a:cubicBezTo>
                <a:cubicBezTo>
                  <a:pt x="17222" y="6353"/>
                  <a:pt x="18097" y="6897"/>
                  <a:pt x="18973" y="7624"/>
                </a:cubicBezTo>
                <a:cubicBezTo>
                  <a:pt x="19849" y="8350"/>
                  <a:pt x="20724" y="9257"/>
                  <a:pt x="21016" y="10165"/>
                </a:cubicBezTo>
                <a:cubicBezTo>
                  <a:pt x="21600" y="11072"/>
                  <a:pt x="21600" y="12161"/>
                  <a:pt x="21600" y="13432"/>
                </a:cubicBezTo>
                <a:cubicBezTo>
                  <a:pt x="21600" y="14703"/>
                  <a:pt x="21600" y="15792"/>
                  <a:pt x="21016" y="16881"/>
                </a:cubicBezTo>
                <a:cubicBezTo>
                  <a:pt x="20432" y="17788"/>
                  <a:pt x="19557" y="18696"/>
                  <a:pt x="18681" y="19422"/>
                </a:cubicBezTo>
                <a:cubicBezTo>
                  <a:pt x="17805" y="20148"/>
                  <a:pt x="16638" y="20692"/>
                  <a:pt x="15470" y="21055"/>
                </a:cubicBezTo>
                <a:cubicBezTo>
                  <a:pt x="14011" y="21418"/>
                  <a:pt x="12843" y="21600"/>
                  <a:pt x="11092" y="21600"/>
                </a:cubicBezTo>
                <a:cubicBezTo>
                  <a:pt x="9924" y="21600"/>
                  <a:pt x="8757" y="21600"/>
                  <a:pt x="7589" y="21237"/>
                </a:cubicBezTo>
                <a:cubicBezTo>
                  <a:pt x="6422" y="21055"/>
                  <a:pt x="5254" y="20692"/>
                  <a:pt x="4378" y="20148"/>
                </a:cubicBezTo>
                <a:cubicBezTo>
                  <a:pt x="4378" y="21237"/>
                  <a:pt x="4378" y="21237"/>
                  <a:pt x="4378" y="21237"/>
                </a:cubicBezTo>
                <a:cubicBezTo>
                  <a:pt x="0" y="21237"/>
                  <a:pt x="0" y="21237"/>
                  <a:pt x="0" y="21237"/>
                </a:cubicBezTo>
                <a:cubicBezTo>
                  <a:pt x="0" y="0"/>
                  <a:pt x="0" y="0"/>
                  <a:pt x="0" y="0"/>
                </a:cubicBezTo>
                <a:cubicBezTo>
                  <a:pt x="4378" y="0"/>
                  <a:pt x="4378" y="0"/>
                  <a:pt x="4378" y="0"/>
                </a:cubicBezTo>
                <a:lnTo>
                  <a:pt x="4378" y="7624"/>
                </a:lnTo>
                <a:close/>
                <a:moveTo>
                  <a:pt x="4378" y="17607"/>
                </a:moveTo>
                <a:cubicBezTo>
                  <a:pt x="6422" y="18877"/>
                  <a:pt x="8465" y="19422"/>
                  <a:pt x="11092" y="19422"/>
                </a:cubicBezTo>
                <a:cubicBezTo>
                  <a:pt x="12843" y="19422"/>
                  <a:pt x="14303" y="19059"/>
                  <a:pt x="15470" y="17970"/>
                </a:cubicBezTo>
                <a:cubicBezTo>
                  <a:pt x="16638" y="16881"/>
                  <a:pt x="17222" y="15429"/>
                  <a:pt x="17222" y="13432"/>
                </a:cubicBezTo>
                <a:cubicBezTo>
                  <a:pt x="17222" y="11617"/>
                  <a:pt x="16638" y="10165"/>
                  <a:pt x="15470" y="9076"/>
                </a:cubicBezTo>
                <a:cubicBezTo>
                  <a:pt x="14595" y="8168"/>
                  <a:pt x="13135" y="7624"/>
                  <a:pt x="11092" y="7624"/>
                </a:cubicBezTo>
                <a:cubicBezTo>
                  <a:pt x="8757" y="7624"/>
                  <a:pt x="6422" y="8531"/>
                  <a:pt x="4378" y="10346"/>
                </a:cubicBezTo>
                <a:lnTo>
                  <a:pt x="4378" y="17607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13" name="Shape 8313"/>
          <p:cNvSpPr/>
          <p:nvPr/>
        </p:nvSpPr>
        <p:spPr>
          <a:xfrm>
            <a:off x="6360836" y="4807963"/>
            <a:ext cx="146051" cy="1841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6904" y="18621"/>
                </a:moveTo>
                <a:cubicBezTo>
                  <a:pt x="14713" y="20607"/>
                  <a:pt x="11896" y="21600"/>
                  <a:pt x="9078" y="21600"/>
                </a:cubicBezTo>
                <a:cubicBezTo>
                  <a:pt x="3130" y="21600"/>
                  <a:pt x="0" y="19117"/>
                  <a:pt x="0" y="13903"/>
                </a:cubicBezTo>
                <a:cubicBezTo>
                  <a:pt x="0" y="0"/>
                  <a:pt x="0" y="0"/>
                  <a:pt x="0" y="0"/>
                </a:cubicBezTo>
                <a:cubicBezTo>
                  <a:pt x="4696" y="0"/>
                  <a:pt x="4696" y="0"/>
                  <a:pt x="4696" y="0"/>
                </a:cubicBezTo>
                <a:cubicBezTo>
                  <a:pt x="4696" y="13655"/>
                  <a:pt x="4696" y="13655"/>
                  <a:pt x="4696" y="13655"/>
                </a:cubicBezTo>
                <a:cubicBezTo>
                  <a:pt x="4696" y="14648"/>
                  <a:pt x="5009" y="15393"/>
                  <a:pt x="5009" y="15890"/>
                </a:cubicBezTo>
                <a:cubicBezTo>
                  <a:pt x="5322" y="16634"/>
                  <a:pt x="5635" y="17131"/>
                  <a:pt x="5948" y="17379"/>
                </a:cubicBezTo>
                <a:cubicBezTo>
                  <a:pt x="6261" y="17876"/>
                  <a:pt x="6887" y="18124"/>
                  <a:pt x="7513" y="18372"/>
                </a:cubicBezTo>
                <a:cubicBezTo>
                  <a:pt x="8139" y="18372"/>
                  <a:pt x="8765" y="18621"/>
                  <a:pt x="9704" y="18621"/>
                </a:cubicBezTo>
                <a:cubicBezTo>
                  <a:pt x="12522" y="18621"/>
                  <a:pt x="14713" y="17379"/>
                  <a:pt x="16904" y="15145"/>
                </a:cubicBezTo>
                <a:cubicBezTo>
                  <a:pt x="16904" y="0"/>
                  <a:pt x="16904" y="0"/>
                  <a:pt x="16904" y="0"/>
                </a:cubicBezTo>
                <a:cubicBezTo>
                  <a:pt x="21600" y="0"/>
                  <a:pt x="21600" y="0"/>
                  <a:pt x="21600" y="0"/>
                </a:cubicBezTo>
                <a:cubicBezTo>
                  <a:pt x="21600" y="21103"/>
                  <a:pt x="21600" y="21103"/>
                  <a:pt x="21600" y="21103"/>
                </a:cubicBezTo>
                <a:cubicBezTo>
                  <a:pt x="16904" y="21103"/>
                  <a:pt x="16904" y="21103"/>
                  <a:pt x="16904" y="21103"/>
                </a:cubicBezTo>
                <a:lnTo>
                  <a:pt x="16904" y="18621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14" name="Shape 8314"/>
          <p:cNvSpPr/>
          <p:nvPr/>
        </p:nvSpPr>
        <p:spPr>
          <a:xfrm>
            <a:off x="6535462" y="4807963"/>
            <a:ext cx="166689" cy="2555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877" y="19080"/>
                </a:moveTo>
                <a:cubicBezTo>
                  <a:pt x="5815" y="19080"/>
                  <a:pt x="7477" y="17820"/>
                  <a:pt x="8862" y="15300"/>
                </a:cubicBezTo>
                <a:cubicBezTo>
                  <a:pt x="0" y="0"/>
                  <a:pt x="0" y="0"/>
                  <a:pt x="0" y="0"/>
                </a:cubicBezTo>
                <a:cubicBezTo>
                  <a:pt x="4431" y="0"/>
                  <a:pt x="4431" y="0"/>
                  <a:pt x="4431" y="0"/>
                </a:cubicBezTo>
                <a:cubicBezTo>
                  <a:pt x="10800" y="12060"/>
                  <a:pt x="10800" y="12060"/>
                  <a:pt x="10800" y="12060"/>
                </a:cubicBezTo>
                <a:cubicBezTo>
                  <a:pt x="16892" y="0"/>
                  <a:pt x="16892" y="0"/>
                  <a:pt x="16892" y="0"/>
                </a:cubicBezTo>
                <a:cubicBezTo>
                  <a:pt x="21600" y="0"/>
                  <a:pt x="21600" y="0"/>
                  <a:pt x="21600" y="0"/>
                </a:cubicBezTo>
                <a:cubicBezTo>
                  <a:pt x="12738" y="15300"/>
                  <a:pt x="12738" y="15300"/>
                  <a:pt x="12738" y="15300"/>
                </a:cubicBezTo>
                <a:cubicBezTo>
                  <a:pt x="12185" y="16200"/>
                  <a:pt x="11631" y="17100"/>
                  <a:pt x="11077" y="17820"/>
                </a:cubicBezTo>
                <a:cubicBezTo>
                  <a:pt x="10523" y="18540"/>
                  <a:pt x="9969" y="19260"/>
                  <a:pt x="9415" y="19800"/>
                </a:cubicBezTo>
                <a:cubicBezTo>
                  <a:pt x="8862" y="20340"/>
                  <a:pt x="8031" y="20880"/>
                  <a:pt x="7200" y="21060"/>
                </a:cubicBezTo>
                <a:cubicBezTo>
                  <a:pt x="6646" y="21420"/>
                  <a:pt x="5538" y="21600"/>
                  <a:pt x="4431" y="21600"/>
                </a:cubicBezTo>
                <a:cubicBezTo>
                  <a:pt x="3877" y="21600"/>
                  <a:pt x="3600" y="21600"/>
                  <a:pt x="3046" y="21600"/>
                </a:cubicBezTo>
                <a:cubicBezTo>
                  <a:pt x="2492" y="21420"/>
                  <a:pt x="2215" y="21420"/>
                  <a:pt x="1662" y="21420"/>
                </a:cubicBezTo>
                <a:cubicBezTo>
                  <a:pt x="1662" y="18900"/>
                  <a:pt x="1662" y="18900"/>
                  <a:pt x="1662" y="18900"/>
                </a:cubicBezTo>
                <a:cubicBezTo>
                  <a:pt x="1938" y="18900"/>
                  <a:pt x="2492" y="18900"/>
                  <a:pt x="2769" y="19080"/>
                </a:cubicBezTo>
                <a:cubicBezTo>
                  <a:pt x="3046" y="19080"/>
                  <a:pt x="3323" y="19080"/>
                  <a:pt x="3877" y="19080"/>
                </a:cubicBez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15" name="Shape 8315"/>
          <p:cNvSpPr/>
          <p:nvPr/>
        </p:nvSpPr>
        <p:spPr>
          <a:xfrm>
            <a:off x="4770785" y="5747763"/>
            <a:ext cx="2650433" cy="459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24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Regular"/>
                <a:sym typeface="Montserrat Regular"/>
              </a:rPr>
              <a:t>SHOPPING</a:t>
            </a:r>
          </a:p>
        </p:txBody>
      </p:sp>
      <p:sp>
        <p:nvSpPr>
          <p:cNvPr id="8316" name="Shape 8316"/>
          <p:cNvSpPr/>
          <p:nvPr/>
        </p:nvSpPr>
        <p:spPr>
          <a:xfrm>
            <a:off x="1618130" y="575712"/>
            <a:ext cx="8955741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3600" b="1"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</a:lstStyle>
          <a:p>
            <a:pPr lvl="0" hangingPunct="0"/>
            <a:r>
              <a:rPr lang="ru-RU" kern="0" dirty="0">
                <a:solidFill>
                  <a:srgbClr val="000000"/>
                </a:solidFill>
              </a:rPr>
              <a:t>E-</a:t>
            </a:r>
            <a:r>
              <a:rPr lang="ru-RU" kern="0" dirty="0" err="1">
                <a:solidFill>
                  <a:srgbClr val="000000"/>
                </a:solidFill>
              </a:rPr>
              <a:t>commerce</a:t>
            </a:r>
            <a:r>
              <a:rPr lang="en-US" kern="0" dirty="0">
                <a:solidFill>
                  <a:srgbClr val="000000"/>
                </a:solidFill>
              </a:rPr>
              <a:t> </a:t>
            </a:r>
            <a:r>
              <a:rPr lang="uk-UA" kern="0" dirty="0">
                <a:solidFill>
                  <a:srgbClr val="000000"/>
                </a:solidFill>
              </a:rPr>
              <a:t>в Україні</a:t>
            </a:r>
            <a:endParaRPr kumimoji="0" sz="3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SemiBold"/>
              <a:sym typeface="Montserrat SemiBold"/>
            </a:endParaRPr>
          </a:p>
        </p:txBody>
      </p:sp>
      <p:sp>
        <p:nvSpPr>
          <p:cNvPr id="8317" name="Shape 8317"/>
          <p:cNvSpPr/>
          <p:nvPr/>
        </p:nvSpPr>
        <p:spPr>
          <a:xfrm>
            <a:off x="8175055" y="2491214"/>
            <a:ext cx="3099920" cy="9589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lnSpc>
                <a:spcPct val="120000"/>
              </a:lnSpc>
              <a:defRPr sz="1300">
                <a:solidFill>
                  <a:srgbClr val="8A8E8C"/>
                </a:solidFill>
              </a:defRPr>
            </a:lvl1pPr>
          </a:lstStyle>
          <a:p>
            <a:pPr hangingPunct="0"/>
            <a:r>
              <a:rPr lang="ru-RU" sz="1600" dirty="0">
                <a:solidFill>
                  <a:schemeClr val="tx1"/>
                </a:solidFill>
                <a:latin typeface="+mj-lt"/>
              </a:rPr>
              <a:t>Вага онлайн </a:t>
            </a:r>
            <a:r>
              <a:rPr lang="uk-UA" sz="1600" dirty="0">
                <a:solidFill>
                  <a:schemeClr val="tx1"/>
                </a:solidFill>
                <a:latin typeface="+mj-lt"/>
              </a:rPr>
              <a:t>суттєво</a:t>
            </a:r>
            <a:r>
              <a:rPr lang="ru-RU" sz="1600" dirty="0">
                <a:solidFill>
                  <a:schemeClr val="tx1"/>
                </a:solidFill>
                <a:latin typeface="+mj-lt"/>
              </a:rPr>
              <a:t> збільшилася, кожен гравець ринку і споживачі адаптувалися швидко до зм</a:t>
            </a:r>
            <a:r>
              <a:rPr lang="uk-UA" sz="1600" dirty="0">
                <a:solidFill>
                  <a:schemeClr val="tx1"/>
                </a:solidFill>
                <a:latin typeface="+mj-lt"/>
              </a:rPr>
              <a:t>ін.</a:t>
            </a:r>
            <a:endParaRPr lang="ru-RU" sz="16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8318" name="Shape 8318"/>
          <p:cNvSpPr/>
          <p:nvPr/>
        </p:nvSpPr>
        <p:spPr>
          <a:xfrm>
            <a:off x="8148056" y="2071708"/>
            <a:ext cx="3126919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Regular"/>
                <a:sym typeface="Montserrat Regular"/>
              </a:rPr>
              <a:t>Онлайн</a:t>
            </a:r>
            <a:r>
              <a:rPr kumimoji="0" lang="uk-UA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Regular"/>
                <a:sym typeface="Montserrat Regular"/>
              </a:rPr>
              <a:t> ринок в цілому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Regular"/>
              <a:sym typeface="Montserrat Regular"/>
            </a:endParaRPr>
          </a:p>
        </p:txBody>
      </p:sp>
      <p:sp>
        <p:nvSpPr>
          <p:cNvPr id="8319" name="Shape 8319"/>
          <p:cNvSpPr/>
          <p:nvPr/>
        </p:nvSpPr>
        <p:spPr>
          <a:xfrm>
            <a:off x="8161556" y="4023225"/>
            <a:ext cx="3245000" cy="9598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lnSpc>
                <a:spcPct val="120000"/>
              </a:lnSpc>
              <a:defRPr sz="1300">
                <a:solidFill>
                  <a:srgbClr val="8A8E8C"/>
                </a:solidFill>
              </a:defRPr>
            </a:lvl1pPr>
          </a:lstStyle>
          <a:p>
            <a:pPr hangingPunct="0"/>
            <a:r>
              <a:rPr lang="uk-UA" sz="1600" dirty="0">
                <a:solidFill>
                  <a:schemeClr val="tx1"/>
                </a:solidFill>
                <a:latin typeface="+mj-lt"/>
              </a:rPr>
              <a:t>Активно відновлюють комунікацію міжнародні бренди, що суттєво посилює конкуренцію</a:t>
            </a:r>
            <a:r>
              <a:rPr lang="uk-UA" sz="1600" dirty="0">
                <a:solidFill>
                  <a:schemeClr val="tx1"/>
                </a:solidFill>
              </a:rPr>
              <a:t>.</a:t>
            </a:r>
            <a:endParaRPr kumimoji="0" sz="1600" i="0" u="none" strike="noStrike" kern="0" cap="none" spc="0" normalizeH="0" baseline="0" noProof="0" dirty="0">
              <a:ln>
                <a:noFill/>
              </a:ln>
              <a:solidFill>
                <a:srgbClr val="8A8E8C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20" name="Shape 8320"/>
          <p:cNvSpPr/>
          <p:nvPr/>
        </p:nvSpPr>
        <p:spPr>
          <a:xfrm>
            <a:off x="8175055" y="3609494"/>
            <a:ext cx="248892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Montserrat Regular"/>
              </a:rPr>
              <a:t>Конкуренція</a:t>
            </a:r>
            <a:r>
              <a:rPr kumimoji="0" lang="uk-UA" sz="1600" b="1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Montserrat Regular"/>
              </a:rPr>
              <a:t> 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Montserrat Regular"/>
            </a:endParaRPr>
          </a:p>
        </p:txBody>
      </p:sp>
      <p:sp>
        <p:nvSpPr>
          <p:cNvPr id="8321" name="Shape 8321"/>
          <p:cNvSpPr/>
          <p:nvPr/>
        </p:nvSpPr>
        <p:spPr>
          <a:xfrm>
            <a:off x="8272557" y="5543648"/>
            <a:ext cx="2702292" cy="125444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ct val="120000"/>
              </a:lnSpc>
              <a:defRPr sz="1300">
                <a:solidFill>
                  <a:srgbClr val="8A8E8C"/>
                </a:solidFill>
              </a:defRPr>
            </a:lvl1pPr>
          </a:lstStyle>
          <a:p>
            <a:pPr hangingPunct="0"/>
            <a:r>
              <a:rPr lang="uk-UA" sz="1600" noProof="0" dirty="0">
                <a:solidFill>
                  <a:schemeClr val="tx1"/>
                </a:solidFill>
                <a:latin typeface="+mj-lt"/>
                <a:sym typeface="Poppins Light"/>
              </a:rPr>
              <a:t>Медіа інфляція. </a:t>
            </a:r>
            <a:r>
              <a:rPr lang="uk-UA" sz="1600" dirty="0">
                <a:solidFill>
                  <a:schemeClr val="tx1"/>
                </a:solidFill>
                <a:latin typeface="+mj-lt"/>
                <a:sym typeface="Poppins Light"/>
              </a:rPr>
              <a:t>Інструменти для</a:t>
            </a:r>
            <a:r>
              <a:rPr lang="uk-UA" sz="1600" noProof="0" dirty="0">
                <a:solidFill>
                  <a:schemeClr val="tx1"/>
                </a:solidFill>
                <a:latin typeface="+mj-lt"/>
                <a:sym typeface="Poppins Light"/>
              </a:rPr>
              <a:t> просування та реклами суттєво дорожчають з кварталу в квартал.   </a:t>
            </a:r>
            <a:endParaRPr kumimoji="0" sz="1600" i="0" u="none" strike="noStrike" kern="0" cap="none" spc="0" normalizeH="0" baseline="0" noProof="0" dirty="0">
              <a:ln>
                <a:noFill/>
              </a:ln>
              <a:solidFill>
                <a:srgbClr val="8A8E8C"/>
              </a:solidFill>
              <a:effectLst/>
              <a:uLnTx/>
              <a:uFillTx/>
              <a:latin typeface="+mj-lt"/>
              <a:sym typeface="Poppins Light"/>
            </a:endParaRPr>
          </a:p>
        </p:txBody>
      </p:sp>
      <p:sp>
        <p:nvSpPr>
          <p:cNvPr id="8322" name="Shape 8322"/>
          <p:cNvSpPr/>
          <p:nvPr/>
        </p:nvSpPr>
        <p:spPr>
          <a:xfrm>
            <a:off x="8205995" y="5178437"/>
            <a:ext cx="2488928" cy="3385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b="1" kern="0" dirty="0">
                <a:solidFill>
                  <a:srgbClr val="000000"/>
                </a:solidFill>
              </a:rPr>
              <a:t>Загальний тренд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Montserrat Regular"/>
            </a:endParaRPr>
          </a:p>
        </p:txBody>
      </p:sp>
      <p:sp>
        <p:nvSpPr>
          <p:cNvPr id="8333" name="Shape 8333"/>
          <p:cNvSpPr/>
          <p:nvPr/>
        </p:nvSpPr>
        <p:spPr>
          <a:xfrm flipH="1" flipV="1">
            <a:off x="5663774" y="1265574"/>
            <a:ext cx="864453" cy="1"/>
          </a:xfrm>
          <a:prstGeom prst="line">
            <a:avLst/>
          </a:prstGeom>
          <a:ln w="57150">
            <a:solidFill>
              <a:srgbClr val="000000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8334" name="Shape 8334"/>
          <p:cNvSpPr/>
          <p:nvPr/>
        </p:nvSpPr>
        <p:spPr>
          <a:xfrm>
            <a:off x="1736036" y="1415344"/>
            <a:ext cx="8719931" cy="3646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8A8E8C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b="1" kern="0" dirty="0">
                <a:solidFill>
                  <a:srgbClr val="000000"/>
                </a:solidFill>
                <a:latin typeface="Montserrat Regular"/>
                <a:ea typeface="Montserrat Regular"/>
                <a:cs typeface="Montserrat Regular"/>
                <a:sym typeface="Poppins Light"/>
              </a:rPr>
              <a:t>Тенденції та вплив війни</a:t>
            </a:r>
            <a:endParaRPr sz="1600" b="1" kern="0" dirty="0">
              <a:solidFill>
                <a:srgbClr val="000000"/>
              </a:solidFill>
              <a:latin typeface="Montserrat Regular"/>
              <a:ea typeface="Montserrat Regular"/>
              <a:cs typeface="Montserrat Regular"/>
              <a:sym typeface="Poppins Light"/>
            </a:endParaRPr>
          </a:p>
        </p:txBody>
      </p:sp>
      <p:pic>
        <p:nvPicPr>
          <p:cNvPr id="86" name="Picture 8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1288" y="87329"/>
            <a:ext cx="981075" cy="1085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13327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8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2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2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" fill="hold"/>
                                        <p:tgtEl>
                                          <p:spTgt spid="8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2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2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" fill="hold"/>
                                        <p:tgtEl>
                                          <p:spTgt spid="8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2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2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1" fill="hold"/>
                                        <p:tgtEl>
                                          <p:spTgt spid="8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2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2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6" fill="hold"/>
                                        <p:tgtEl>
                                          <p:spTgt spid="8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82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2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1" fill="hold"/>
                                        <p:tgtEl>
                                          <p:spTgt spid="8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2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2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6" fill="hold"/>
                                        <p:tgtEl>
                                          <p:spTgt spid="8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2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2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1" fill="hold"/>
                                        <p:tgtEl>
                                          <p:spTgt spid="8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2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2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6" fill="hold"/>
                                        <p:tgtEl>
                                          <p:spTgt spid="8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2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82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1" fill="hold"/>
                                        <p:tgtEl>
                                          <p:spTgt spid="8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82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82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6" fill="hold"/>
                                        <p:tgtEl>
                                          <p:spTgt spid="8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82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82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500"/>
                            </p:stCondLst>
                            <p:childTnLst>
                              <p:par>
                                <p:cTn id="6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1" fill="hold"/>
                                        <p:tgtEl>
                                          <p:spTgt spid="8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82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82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6" fill="hold"/>
                                        <p:tgtEl>
                                          <p:spTgt spid="8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82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82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6500"/>
                            </p:stCondLst>
                            <p:childTnLst>
                              <p:par>
                                <p:cTn id="7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71" fill="hold"/>
                                        <p:tgtEl>
                                          <p:spTgt spid="8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82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82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0"/>
                            </p:stCondLst>
                            <p:childTnLst>
                              <p:par>
                                <p:cTn id="7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76" fill="hold"/>
                                        <p:tgtEl>
                                          <p:spTgt spid="8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82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82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500"/>
                            </p:stCondLst>
                            <p:childTnLst>
                              <p:par>
                                <p:cTn id="8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81" fill="hold"/>
                                        <p:tgtEl>
                                          <p:spTgt spid="8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82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82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0"/>
                            </p:stCondLst>
                            <p:childTnLst>
                              <p:par>
                                <p:cTn id="8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86" fill="hold"/>
                                        <p:tgtEl>
                                          <p:spTgt spid="8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82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82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8500"/>
                            </p:stCondLst>
                            <p:childTnLst>
                              <p:par>
                                <p:cTn id="9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91" fill="hold"/>
                                        <p:tgtEl>
                                          <p:spTgt spid="8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82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82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9000"/>
                            </p:stCondLst>
                            <p:childTnLst>
                              <p:par>
                                <p:cTn id="9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96" fill="hold"/>
                                        <p:tgtEl>
                                          <p:spTgt spid="8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83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83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9500"/>
                            </p:stCondLst>
                            <p:childTnLst>
                              <p:par>
                                <p:cTn id="10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1" fill="hold"/>
                                        <p:tgtEl>
                                          <p:spTgt spid="8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83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83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0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6" fill="hold"/>
                                        <p:tgtEl>
                                          <p:spTgt spid="8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83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83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0500"/>
                            </p:stCondLst>
                            <p:childTnLst>
                              <p:par>
                                <p:cTn id="1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1" fill="hold"/>
                                        <p:tgtEl>
                                          <p:spTgt spid="8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83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83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1000"/>
                            </p:stCondLst>
                            <p:childTnLst>
                              <p:par>
                                <p:cTn id="1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6" fill="hold"/>
                                        <p:tgtEl>
                                          <p:spTgt spid="8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83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83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1500"/>
                            </p:stCondLst>
                            <p:childTnLst>
                              <p:par>
                                <p:cTn id="1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21" fill="hold"/>
                                        <p:tgtEl>
                                          <p:spTgt spid="8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83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83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12000"/>
                            </p:stCondLst>
                            <p:childTnLst>
                              <p:par>
                                <p:cTn id="12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26" fill="hold"/>
                                        <p:tgtEl>
                                          <p:spTgt spid="8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83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83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12500"/>
                            </p:stCondLst>
                            <p:childTnLst>
                              <p:par>
                                <p:cTn id="13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1" fill="hold"/>
                                        <p:tgtEl>
                                          <p:spTgt spid="8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83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83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13000"/>
                            </p:stCondLst>
                            <p:childTnLst>
                              <p:par>
                                <p:cTn id="13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36" fill="hold"/>
                                        <p:tgtEl>
                                          <p:spTgt spid="8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830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830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13500"/>
                            </p:stCondLst>
                            <p:childTnLst>
                              <p:par>
                                <p:cTn id="14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1" fill="hold"/>
                                        <p:tgtEl>
                                          <p:spTgt spid="8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830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830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4000"/>
                            </p:stCondLst>
                            <p:childTnLst>
                              <p:par>
                                <p:cTn id="1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6" fill="hold"/>
                                        <p:tgtEl>
                                          <p:spTgt spid="8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83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83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9" fill="hold">
                            <p:stCondLst>
                              <p:cond delay="14500"/>
                            </p:stCondLst>
                            <p:childTnLst>
                              <p:par>
                                <p:cTn id="15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1" fill="hold"/>
                                        <p:tgtEl>
                                          <p:spTgt spid="8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2" dur="500" fill="hold"/>
                                        <p:tgtEl>
                                          <p:spTgt spid="83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500" fill="hold"/>
                                        <p:tgtEl>
                                          <p:spTgt spid="83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>
                            <p:stCondLst>
                              <p:cond delay="15000"/>
                            </p:stCondLst>
                            <p:childTnLst>
                              <p:par>
                                <p:cTn id="15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6" fill="hold"/>
                                        <p:tgtEl>
                                          <p:spTgt spid="8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7" dur="500" fill="hold"/>
                                        <p:tgtEl>
                                          <p:spTgt spid="83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500" fill="hold"/>
                                        <p:tgtEl>
                                          <p:spTgt spid="83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5500"/>
                            </p:stCondLst>
                            <p:childTnLst>
                              <p:par>
                                <p:cTn id="16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1" fill="hold"/>
                                        <p:tgtEl>
                                          <p:spTgt spid="8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83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83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6000"/>
                            </p:stCondLst>
                            <p:childTnLst>
                              <p:par>
                                <p:cTn id="1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6" fill="hold"/>
                                        <p:tgtEl>
                                          <p:spTgt spid="8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83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83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>
                            <p:stCondLst>
                              <p:cond delay="16500"/>
                            </p:stCondLst>
                            <p:childTnLst>
                              <p:par>
                                <p:cTn id="17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1" fill="hold"/>
                                        <p:tgtEl>
                                          <p:spTgt spid="8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2" dur="500" fill="hold"/>
                                        <p:tgtEl>
                                          <p:spTgt spid="83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3" dur="500" fill="hold"/>
                                        <p:tgtEl>
                                          <p:spTgt spid="83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4" fill="hold">
                            <p:stCondLst>
                              <p:cond delay="17000"/>
                            </p:stCondLst>
                            <p:childTnLst>
                              <p:par>
                                <p:cTn id="17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76" fill="hold"/>
                                        <p:tgtEl>
                                          <p:spTgt spid="8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7" dur="500" fill="hold"/>
                                        <p:tgtEl>
                                          <p:spTgt spid="82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8" dur="500" fill="hold"/>
                                        <p:tgtEl>
                                          <p:spTgt spid="82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9" fill="hold">
                      <p:stCondLst>
                        <p:cond delay="indefinite"/>
                      </p:stCondLst>
                      <p:childTnLst>
                        <p:par>
                          <p:cTn id="180" fill="hold">
                            <p:stCondLst>
                              <p:cond delay="0"/>
                            </p:stCondLst>
                            <p:childTnLst>
                              <p:par>
                                <p:cTn id="18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82" fill="hold"/>
                                        <p:tgtEl>
                                          <p:spTgt spid="8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3" dur="500"/>
                                        <p:tgtEl>
                                          <p:spTgt spid="8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4" fill="hold">
                      <p:stCondLst>
                        <p:cond delay="indefinite"/>
                      </p:stCondLst>
                      <p:childTnLst>
                        <p:par>
                          <p:cTn id="185" fill="hold">
                            <p:stCondLst>
                              <p:cond delay="0"/>
                            </p:stCondLst>
                            <p:childTnLst>
                              <p:par>
                                <p:cTn id="186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87" fill="hold"/>
                                        <p:tgtEl>
                                          <p:spTgt spid="82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8" dur="500"/>
                                        <p:tgtEl>
                                          <p:spTgt spid="82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9" fill="hold">
                      <p:stCondLst>
                        <p:cond delay="indefinite"/>
                      </p:stCondLst>
                      <p:childTnLst>
                        <p:par>
                          <p:cTn id="190" fill="hold">
                            <p:stCondLst>
                              <p:cond delay="0"/>
                            </p:stCondLst>
                            <p:childTnLst>
                              <p:par>
                                <p:cTn id="19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3" dur="500" fill="hold"/>
                                        <p:tgtEl>
                                          <p:spTgt spid="83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4" dur="500" fill="hold"/>
                                        <p:tgtEl>
                                          <p:spTgt spid="83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5" fill="hold">
                      <p:stCondLst>
                        <p:cond delay="indefinite"/>
                      </p:stCondLst>
                      <p:childTnLst>
                        <p:par>
                          <p:cTn id="196" fill="hold">
                            <p:stCondLst>
                              <p:cond delay="0"/>
                            </p:stCondLst>
                            <p:childTnLst>
                              <p:par>
                                <p:cTn id="19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9" dur="500" fill="hold"/>
                                        <p:tgtEl>
                                          <p:spTgt spid="83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0" dur="500" fill="hold"/>
                                        <p:tgtEl>
                                          <p:spTgt spid="83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1" fill="hold">
                      <p:stCondLst>
                        <p:cond delay="indefinite"/>
                      </p:stCondLst>
                      <p:childTnLst>
                        <p:par>
                          <p:cTn id="202" fill="hold">
                            <p:stCondLst>
                              <p:cond delay="0"/>
                            </p:stCondLst>
                            <p:childTnLst>
                              <p:par>
                                <p:cTn id="20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5" dur="500" fill="hold"/>
                                        <p:tgtEl>
                                          <p:spTgt spid="83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6" dur="500" fill="hold"/>
                                        <p:tgtEl>
                                          <p:spTgt spid="83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7" fill="hold">
                      <p:stCondLst>
                        <p:cond delay="indefinite"/>
                      </p:stCondLst>
                      <p:childTnLst>
                        <p:par>
                          <p:cTn id="208" fill="hold">
                            <p:stCondLst>
                              <p:cond delay="0"/>
                            </p:stCondLst>
                            <p:childTnLst>
                              <p:par>
                                <p:cTn id="20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1" dur="500" fill="hold"/>
                                        <p:tgtEl>
                                          <p:spTgt spid="83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2" dur="500" fill="hold"/>
                                        <p:tgtEl>
                                          <p:spTgt spid="83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3" fill="hold">
                      <p:stCondLst>
                        <p:cond delay="indefinite"/>
                      </p:stCondLst>
                      <p:childTnLst>
                        <p:par>
                          <p:cTn id="214" fill="hold">
                            <p:stCondLst>
                              <p:cond delay="0"/>
                            </p:stCondLst>
                            <p:childTnLst>
                              <p:par>
                                <p:cTn id="2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7" dur="500" fill="hold"/>
                                        <p:tgtEl>
                                          <p:spTgt spid="8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8" dur="500" fill="hold"/>
                                        <p:tgtEl>
                                          <p:spTgt spid="8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9" fill="hold">
                      <p:stCondLst>
                        <p:cond delay="indefinite"/>
                      </p:stCondLst>
                      <p:childTnLst>
                        <p:par>
                          <p:cTn id="220" fill="hold">
                            <p:stCondLst>
                              <p:cond delay="0"/>
                            </p:stCondLst>
                            <p:childTnLst>
                              <p:par>
                                <p:cTn id="2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3" dur="500" fill="hold"/>
                                        <p:tgtEl>
                                          <p:spTgt spid="8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4" dur="500" fill="hold"/>
                                        <p:tgtEl>
                                          <p:spTgt spid="8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52" grpId="0" animBg="1" advAuto="0"/>
      <p:bldP spid="8253" grpId="0" animBg="1" advAuto="0"/>
      <p:bldP spid="8254" grpId="0" animBg="1" advAuto="0"/>
      <p:bldP spid="8264" grpId="0" animBg="1" advAuto="0"/>
      <p:bldP spid="8283" grpId="0" animBg="1" advAuto="0"/>
      <p:bldP spid="8284" grpId="0" animBg="1" advAuto="0"/>
      <p:bldP spid="8285" grpId="0" animBg="1" advAuto="0"/>
      <p:bldP spid="8286" grpId="0" animBg="1" advAuto="0"/>
      <p:bldP spid="8287" grpId="0" animBg="1" advAuto="0"/>
      <p:bldP spid="8288" grpId="0" animBg="1" advAuto="0"/>
      <p:bldP spid="8289" grpId="0" animBg="1" advAuto="0"/>
      <p:bldP spid="8290" grpId="0" animBg="1" advAuto="0"/>
      <p:bldP spid="8291" grpId="0" animBg="1" advAuto="0"/>
      <p:bldP spid="8292" grpId="0" animBg="1" advAuto="0"/>
      <p:bldP spid="8293" grpId="0" animBg="1" advAuto="0"/>
      <p:bldP spid="8294" grpId="0" animBg="1" advAuto="0"/>
      <p:bldP spid="8295" grpId="0" animBg="1" advAuto="0"/>
      <p:bldP spid="8296" grpId="0" animBg="1" advAuto="0"/>
      <p:bldP spid="8297" grpId="0" animBg="1" advAuto="0"/>
      <p:bldP spid="8298" grpId="0" animBg="1" advAuto="0"/>
      <p:bldP spid="8299" grpId="0" animBg="1" advAuto="0"/>
      <p:bldP spid="8300" grpId="0" animBg="1" advAuto="0"/>
      <p:bldP spid="8301" grpId="0" animBg="1" advAuto="0"/>
      <p:bldP spid="8302" grpId="0" animBg="1" advAuto="0"/>
      <p:bldP spid="8303" grpId="0" animBg="1" advAuto="0"/>
      <p:bldP spid="8304" grpId="0" animBg="1" advAuto="0"/>
      <p:bldP spid="8305" grpId="0" animBg="1" advAuto="0"/>
      <p:bldP spid="8306" grpId="0" animBg="1" advAuto="0"/>
      <p:bldP spid="8307" grpId="0" animBg="1" advAuto="0"/>
      <p:bldP spid="8308" grpId="0" animBg="1" advAuto="0"/>
      <p:bldP spid="8309" grpId="0" animBg="1" advAuto="0"/>
      <p:bldP spid="8310" grpId="0" animBg="1" advAuto="0"/>
      <p:bldP spid="8311" grpId="0" animBg="1" advAuto="0"/>
      <p:bldP spid="8312" grpId="0" animBg="1" advAuto="0"/>
      <p:bldP spid="8313" grpId="0" animBg="1" advAuto="0"/>
      <p:bldP spid="8314" grpId="0" animBg="1" advAuto="0"/>
      <p:bldP spid="8315" grpId="0" animBg="1" advAuto="0"/>
      <p:bldP spid="8317" grpId="0" animBg="1"/>
      <p:bldP spid="8318" grpId="0" animBg="1"/>
      <p:bldP spid="8319" grpId="0" animBg="1"/>
      <p:bldP spid="8320" grpId="0" animBg="1"/>
      <p:bldP spid="8321" grpId="0" animBg="1"/>
      <p:bldP spid="832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3" name="Shape 7933"/>
          <p:cNvSpPr/>
          <p:nvPr/>
        </p:nvSpPr>
        <p:spPr>
          <a:xfrm>
            <a:off x="1618130" y="575712"/>
            <a:ext cx="8955741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3600" b="1"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 SemiBold"/>
                <a:sym typeface="Montserrat SemiBold"/>
              </a:rPr>
              <a:t>Загальні тренди та виклики </a:t>
            </a:r>
            <a:endParaRPr kumimoji="0" sz="3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SemiBold"/>
              <a:sym typeface="Montserrat SemiBold"/>
            </a:endParaRPr>
          </a:p>
        </p:txBody>
      </p:sp>
      <p:sp>
        <p:nvSpPr>
          <p:cNvPr id="7934" name="Shape 7934"/>
          <p:cNvSpPr/>
          <p:nvPr/>
        </p:nvSpPr>
        <p:spPr>
          <a:xfrm>
            <a:off x="2120658" y="3880306"/>
            <a:ext cx="846090" cy="92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984"/>
                </a:moveTo>
                <a:lnTo>
                  <a:pt x="10848" y="11862"/>
                </a:lnTo>
                <a:lnTo>
                  <a:pt x="0" y="11862"/>
                </a:lnTo>
                <a:lnTo>
                  <a:pt x="10848" y="21600"/>
                </a:lnTo>
                <a:lnTo>
                  <a:pt x="9299" y="16200"/>
                </a:lnTo>
                <a:lnTo>
                  <a:pt x="21600" y="12748"/>
                </a:lnTo>
                <a:lnTo>
                  <a:pt x="10848" y="0"/>
                </a:lnTo>
                <a:lnTo>
                  <a:pt x="0" y="3984"/>
                </a:lnTo>
                <a:close/>
              </a:path>
            </a:pathLst>
          </a:custGeom>
          <a:solidFill>
            <a:srgbClr val="137FA9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sp>
        <p:nvSpPr>
          <p:cNvPr id="7935" name="Shape 7935"/>
          <p:cNvSpPr/>
          <p:nvPr/>
        </p:nvSpPr>
        <p:spPr>
          <a:xfrm>
            <a:off x="752476" y="2312672"/>
            <a:ext cx="2822929" cy="175734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73" y="21600"/>
                </a:lnTo>
                <a:lnTo>
                  <a:pt x="18819" y="21600"/>
                </a:lnTo>
                <a:lnTo>
                  <a:pt x="1095" y="21364"/>
                </a:lnTo>
                <a:lnTo>
                  <a:pt x="59" y="943"/>
                </a:ln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sp>
        <p:nvSpPr>
          <p:cNvPr id="7936" name="Shape 7936"/>
          <p:cNvSpPr/>
          <p:nvPr/>
        </p:nvSpPr>
        <p:spPr>
          <a:xfrm>
            <a:off x="565904" y="2636994"/>
            <a:ext cx="3109508" cy="5072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FFFFFF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Helvetica"/>
                <a:sym typeface="Poppins Light"/>
              </a:rPr>
              <a:t>ПЕРСОНАЛІЗАЦІЯ</a:t>
            </a:r>
            <a:r>
              <a:rPr kumimoji="0" lang="uk-UA" sz="24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Helvetica"/>
                <a:sym typeface="Poppins Light"/>
              </a:rPr>
              <a:t> 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Helvetica"/>
              <a:sym typeface="Poppins Light"/>
            </a:endParaRPr>
          </a:p>
        </p:txBody>
      </p:sp>
      <p:sp>
        <p:nvSpPr>
          <p:cNvPr id="7937" name="Shape 7937"/>
          <p:cNvSpPr/>
          <p:nvPr/>
        </p:nvSpPr>
        <p:spPr>
          <a:xfrm>
            <a:off x="858600" y="4904892"/>
            <a:ext cx="2610679" cy="1477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Montserrat Regular"/>
              </a:rPr>
              <a:t>Зона</a:t>
            </a:r>
            <a:r>
              <a:rPr kumimoji="0" lang="uk-UA" sz="1800" b="0" i="0" u="sng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Montserrat Regular"/>
              </a:rPr>
              <a:t> уваги юриста</a:t>
            </a:r>
            <a:r>
              <a:rPr kumimoji="0" lang="uk-UA" sz="1800" b="0" i="0" u="none" strike="noStrike" kern="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sym typeface="Montserrat Regular"/>
              </a:rPr>
              <a:t>: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800" kern="0" dirty="0">
                <a:solidFill>
                  <a:srgbClr val="000000"/>
                </a:solidFill>
                <a:latin typeface="+mj-lt"/>
              </a:rPr>
              <a:t>Встановлення, фіксація та дотримання правил роботи з персональними даними споживачів </a:t>
            </a:r>
            <a:endParaRPr kumimoji="0" lang="uk-UA" sz="1800" b="0" i="0" u="none" strike="noStrike" kern="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sym typeface="Montserrat Regular"/>
            </a:endParaRPr>
          </a:p>
        </p:txBody>
      </p:sp>
      <p:sp>
        <p:nvSpPr>
          <p:cNvPr id="7939" name="Shape 7939"/>
          <p:cNvSpPr/>
          <p:nvPr/>
        </p:nvSpPr>
        <p:spPr>
          <a:xfrm>
            <a:off x="5679785" y="3880306"/>
            <a:ext cx="846090" cy="92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984"/>
                </a:moveTo>
                <a:lnTo>
                  <a:pt x="10848" y="11862"/>
                </a:lnTo>
                <a:lnTo>
                  <a:pt x="0" y="11862"/>
                </a:lnTo>
                <a:lnTo>
                  <a:pt x="10848" y="21600"/>
                </a:lnTo>
                <a:lnTo>
                  <a:pt x="9299" y="16200"/>
                </a:lnTo>
                <a:lnTo>
                  <a:pt x="21600" y="12748"/>
                </a:lnTo>
                <a:lnTo>
                  <a:pt x="10848" y="0"/>
                </a:lnTo>
                <a:lnTo>
                  <a:pt x="0" y="3984"/>
                </a:lnTo>
                <a:close/>
              </a:path>
            </a:pathLst>
          </a:custGeom>
          <a:solidFill>
            <a:srgbClr val="628B25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sp>
        <p:nvSpPr>
          <p:cNvPr id="7940" name="Shape 7940"/>
          <p:cNvSpPr/>
          <p:nvPr/>
        </p:nvSpPr>
        <p:spPr>
          <a:xfrm>
            <a:off x="4457700" y="2238374"/>
            <a:ext cx="2822929" cy="18316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73" y="21600"/>
                </a:lnTo>
                <a:lnTo>
                  <a:pt x="18819" y="21600"/>
                </a:lnTo>
                <a:lnTo>
                  <a:pt x="1095" y="21364"/>
                </a:lnTo>
                <a:lnTo>
                  <a:pt x="59" y="943"/>
                </a:ln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sp>
        <p:nvSpPr>
          <p:cNvPr id="7941" name="Shape 7941"/>
          <p:cNvSpPr/>
          <p:nvPr/>
        </p:nvSpPr>
        <p:spPr>
          <a:xfrm>
            <a:off x="4671887" y="2503108"/>
            <a:ext cx="2379986" cy="9491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FFFFFF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Helvetica"/>
                <a:sym typeface="Poppins Light"/>
              </a:rPr>
              <a:t>СОЦІАЛЬНА</a:t>
            </a:r>
            <a:r>
              <a:rPr kumimoji="0" lang="uk-UA" sz="24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Helvetica"/>
                <a:sym typeface="Poppins Light"/>
              </a:rPr>
              <a:t> КОМЕРЦІЯ</a:t>
            </a:r>
            <a:endParaRPr kumimoji="0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cs typeface="Helvetica"/>
              <a:sym typeface="Poppins Light"/>
            </a:endParaRPr>
          </a:p>
        </p:txBody>
      </p:sp>
      <p:sp>
        <p:nvSpPr>
          <p:cNvPr id="7942" name="Shape 7942"/>
          <p:cNvSpPr/>
          <p:nvPr/>
        </p:nvSpPr>
        <p:spPr>
          <a:xfrm>
            <a:off x="4556540" y="4930510"/>
            <a:ext cx="2610679" cy="1477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800" u="sng" kern="0" dirty="0">
                <a:solidFill>
                  <a:srgbClr val="000000"/>
                </a:solidFill>
                <a:latin typeface="+mj-lt"/>
              </a:rPr>
              <a:t>Зона уваги юриста: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800" kern="0" dirty="0">
                <a:solidFill>
                  <a:srgbClr val="000000"/>
                </a:solidFill>
                <a:latin typeface="+mj-lt"/>
              </a:rPr>
              <a:t>Сірі гравці, Дотримання прав інтелектуальної власності, Робота з блогерами</a:t>
            </a:r>
            <a:endParaRPr kumimoji="0" sz="1600" b="0" i="0" u="sng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sym typeface="Montserrat Regular"/>
            </a:endParaRPr>
          </a:p>
        </p:txBody>
      </p:sp>
      <p:sp>
        <p:nvSpPr>
          <p:cNvPr id="7944" name="Shape 7944"/>
          <p:cNvSpPr/>
          <p:nvPr/>
        </p:nvSpPr>
        <p:spPr>
          <a:xfrm>
            <a:off x="9238912" y="3880306"/>
            <a:ext cx="846089" cy="92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984"/>
                </a:moveTo>
                <a:lnTo>
                  <a:pt x="10848" y="11862"/>
                </a:lnTo>
                <a:lnTo>
                  <a:pt x="0" y="11862"/>
                </a:lnTo>
                <a:lnTo>
                  <a:pt x="10848" y="21600"/>
                </a:lnTo>
                <a:lnTo>
                  <a:pt x="9299" y="16200"/>
                </a:lnTo>
                <a:lnTo>
                  <a:pt x="21600" y="12748"/>
                </a:lnTo>
                <a:lnTo>
                  <a:pt x="10848" y="0"/>
                </a:lnTo>
                <a:lnTo>
                  <a:pt x="0" y="3984"/>
                </a:lnTo>
                <a:close/>
              </a:path>
            </a:pathLst>
          </a:custGeom>
          <a:solidFill>
            <a:srgbClr val="BF9000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sp>
        <p:nvSpPr>
          <p:cNvPr id="7945" name="Shape 7945"/>
          <p:cNvSpPr/>
          <p:nvPr/>
        </p:nvSpPr>
        <p:spPr>
          <a:xfrm>
            <a:off x="8277104" y="2124653"/>
            <a:ext cx="2603229" cy="1945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73" y="21600"/>
                </a:lnTo>
                <a:lnTo>
                  <a:pt x="18819" y="21600"/>
                </a:lnTo>
                <a:lnTo>
                  <a:pt x="1095" y="21364"/>
                </a:lnTo>
                <a:lnTo>
                  <a:pt x="59" y="943"/>
                </a:ln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sp>
        <p:nvSpPr>
          <p:cNvPr id="7946" name="Shape 7946"/>
          <p:cNvSpPr/>
          <p:nvPr/>
        </p:nvSpPr>
        <p:spPr>
          <a:xfrm>
            <a:off x="8514908" y="2312672"/>
            <a:ext cx="2136380" cy="13923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FFFFFF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2400" b="1" dirty="0">
                <a:latin typeface="+mj-lt"/>
                <a:cs typeface="Helvetica"/>
                <a:sym typeface="Poppins Light"/>
              </a:rPr>
              <a:t>РОБОТА З ВІДГУКАМИ ТА СКАРГАМИ</a:t>
            </a:r>
            <a:endParaRPr sz="2400" b="1" dirty="0">
              <a:latin typeface="+mj-lt"/>
              <a:cs typeface="Helvetica"/>
              <a:sym typeface="Poppins Light"/>
            </a:endParaRPr>
          </a:p>
        </p:txBody>
      </p:sp>
      <p:sp>
        <p:nvSpPr>
          <p:cNvPr id="7947" name="Shape 7947"/>
          <p:cNvSpPr/>
          <p:nvPr/>
        </p:nvSpPr>
        <p:spPr>
          <a:xfrm>
            <a:off x="8254480" y="4904892"/>
            <a:ext cx="2610679" cy="14773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lvl="0" hangingPunct="0"/>
            <a:r>
              <a:rPr lang="uk-UA" sz="1800" u="sng" kern="0" dirty="0">
                <a:solidFill>
                  <a:srgbClr val="000000"/>
                </a:solidFill>
                <a:latin typeface="+mj-lt"/>
              </a:rPr>
              <a:t>Зона уваги юриста:</a:t>
            </a:r>
          </a:p>
          <a:p>
            <a:pPr lvl="0" hangingPunct="0">
              <a:defRPr/>
            </a:pPr>
            <a:r>
              <a:rPr lang="uk-UA" sz="1800" kern="0" dirty="0">
                <a:solidFill>
                  <a:srgbClr val="000000"/>
                </a:solidFill>
                <a:latin typeface="+mj-lt"/>
              </a:rPr>
              <a:t>Репутаційні ризики, правомірність скарг, варіанти реагування </a:t>
            </a:r>
          </a:p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sz="1800"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949" name="Shape 7949"/>
          <p:cNvSpPr/>
          <p:nvPr/>
        </p:nvSpPr>
        <p:spPr>
          <a:xfrm flipH="1" flipV="1">
            <a:off x="5663774" y="1265574"/>
            <a:ext cx="864453" cy="1"/>
          </a:xfrm>
          <a:prstGeom prst="line">
            <a:avLst/>
          </a:prstGeom>
          <a:ln w="57150">
            <a:solidFill>
              <a:srgbClr val="000000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cs typeface="Helvetica"/>
              <a:sym typeface="Poppins Light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1288" y="87329"/>
            <a:ext cx="981075" cy="1085850"/>
          </a:xfrm>
          <a:prstGeom prst="rect">
            <a:avLst/>
          </a:prstGeom>
        </p:spPr>
      </p:pic>
      <p:sp>
        <p:nvSpPr>
          <p:cNvPr id="2" name="Shape 8334">
            <a:extLst>
              <a:ext uri="{FF2B5EF4-FFF2-40B4-BE49-F238E27FC236}">
                <a16:creationId xmlns:a16="http://schemas.microsoft.com/office/drawing/2014/main" id="{50A7960C-13DA-0C8A-26D3-DBF35DA66123}"/>
              </a:ext>
            </a:extLst>
          </p:cNvPr>
          <p:cNvSpPr/>
          <p:nvPr/>
        </p:nvSpPr>
        <p:spPr>
          <a:xfrm>
            <a:off x="1736036" y="1415344"/>
            <a:ext cx="8719931" cy="3646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8A8E8C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b="1" kern="0" dirty="0">
                <a:solidFill>
                  <a:srgbClr val="000000"/>
                </a:solidFill>
                <a:latin typeface="Montserrat Regular"/>
                <a:ea typeface="Montserrat Regular"/>
                <a:cs typeface="Montserrat Regular"/>
                <a:sym typeface="Poppins Light"/>
              </a:rPr>
              <a:t>Зона уваги юриста в цілому</a:t>
            </a:r>
            <a:endParaRPr sz="1600" b="1" kern="0" dirty="0">
              <a:solidFill>
                <a:srgbClr val="000000"/>
              </a:solidFill>
              <a:latin typeface="Montserrat Regular"/>
              <a:ea typeface="Montserrat Regular"/>
              <a:cs typeface="Montserrat Regular"/>
              <a:sym typeface="Poppi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08329603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7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9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7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9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5" fill="hold"/>
                                        <p:tgtEl>
                                          <p:spTgt spid="7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9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9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1" fill="hold"/>
                                        <p:tgtEl>
                                          <p:spTgt spid="7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79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5" fill="hold"/>
                                        <p:tgtEl>
                                          <p:spTgt spid="7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7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0" fill="hold"/>
                                        <p:tgtEl>
                                          <p:spTgt spid="7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9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79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6" fill="hold"/>
                                        <p:tgtEl>
                                          <p:spTgt spid="7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79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0" fill="hold"/>
                                        <p:tgtEl>
                                          <p:spTgt spid="7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1" dur="500"/>
                                        <p:tgtEl>
                                          <p:spTgt spid="79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5" fill="hold"/>
                                        <p:tgtEl>
                                          <p:spTgt spid="7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9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79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34" grpId="0" animBg="1" advAuto="0"/>
      <p:bldP spid="7936" grpId="0" animBg="1" advAuto="0"/>
      <p:bldP spid="7937" grpId="0" animBg="1" advAuto="0"/>
      <p:bldP spid="7939" grpId="0" animBg="1" advAuto="0"/>
      <p:bldP spid="7941" grpId="0" animBg="1" advAuto="0"/>
      <p:bldP spid="7942" grpId="0" animBg="1" advAuto="0"/>
      <p:bldP spid="7944" grpId="0" animBg="1" advAuto="0"/>
      <p:bldP spid="7946" grpId="0" animBg="1" advAuto="0"/>
      <p:bldP spid="7947" grpId="0" animBg="1" advAuto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3" name="Shape 7933"/>
          <p:cNvSpPr/>
          <p:nvPr/>
        </p:nvSpPr>
        <p:spPr>
          <a:xfrm>
            <a:off x="1618130" y="575712"/>
            <a:ext cx="8955741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3600" b="1">
                <a:latin typeface="Montserrat SemiBold"/>
                <a:ea typeface="Montserrat SemiBold"/>
                <a:cs typeface="Montserrat SemiBold"/>
                <a:sym typeface="Montserrat SemiBold"/>
              </a:defRPr>
            </a:lvl1pPr>
          </a:lstStyle>
          <a:p>
            <a:pPr lvl="0" hangingPunct="0"/>
            <a:r>
              <a:rPr lang="ru-RU" kern="0" dirty="0">
                <a:solidFill>
                  <a:srgbClr val="000000"/>
                </a:solidFill>
              </a:rPr>
              <a:t>Тренди та виклики  </a:t>
            </a:r>
            <a:endParaRPr kumimoji="0" sz="3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 SemiBold"/>
              <a:sym typeface="Montserrat SemiBold"/>
            </a:endParaRPr>
          </a:p>
        </p:txBody>
      </p:sp>
      <p:sp>
        <p:nvSpPr>
          <p:cNvPr id="7934" name="Shape 7934"/>
          <p:cNvSpPr/>
          <p:nvPr/>
        </p:nvSpPr>
        <p:spPr>
          <a:xfrm>
            <a:off x="2120658" y="3880306"/>
            <a:ext cx="846090" cy="92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984"/>
                </a:moveTo>
                <a:lnTo>
                  <a:pt x="10848" y="11862"/>
                </a:lnTo>
                <a:lnTo>
                  <a:pt x="0" y="11862"/>
                </a:lnTo>
                <a:lnTo>
                  <a:pt x="10848" y="21600"/>
                </a:lnTo>
                <a:lnTo>
                  <a:pt x="9299" y="16200"/>
                </a:lnTo>
                <a:lnTo>
                  <a:pt x="21600" y="12748"/>
                </a:lnTo>
                <a:lnTo>
                  <a:pt x="10848" y="0"/>
                </a:lnTo>
                <a:lnTo>
                  <a:pt x="0" y="3984"/>
                </a:lnTo>
                <a:close/>
              </a:path>
            </a:pathLst>
          </a:custGeom>
          <a:solidFill>
            <a:srgbClr val="137FA9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35" name="Shape 7935"/>
          <p:cNvSpPr/>
          <p:nvPr/>
        </p:nvSpPr>
        <p:spPr>
          <a:xfrm>
            <a:off x="1158852" y="2332308"/>
            <a:ext cx="2769704" cy="1737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73" y="21600"/>
                </a:lnTo>
                <a:lnTo>
                  <a:pt x="18819" y="21600"/>
                </a:lnTo>
                <a:lnTo>
                  <a:pt x="1095" y="21364"/>
                </a:lnTo>
                <a:lnTo>
                  <a:pt x="59" y="943"/>
                </a:ln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36" name="Shape 7936"/>
          <p:cNvSpPr/>
          <p:nvPr/>
        </p:nvSpPr>
        <p:spPr>
          <a:xfrm>
            <a:off x="1353710" y="2554828"/>
            <a:ext cx="2379986" cy="9541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FFFFFF"/>
                </a:solidFill>
              </a:defRPr>
            </a:lvl1pPr>
          </a:lstStyle>
          <a:p>
            <a:pPr lvl="0" hangingPunct="0"/>
            <a:r>
              <a:rPr kumimoji="0" lang="uk-UA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sym typeface="Poppins Light"/>
              </a:rPr>
              <a:t>ПРОМО</a:t>
            </a:r>
            <a:r>
              <a:rPr kumimoji="0" lang="uk-UA" sz="2400" b="1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/>
                <a:sym typeface="Poppins Light"/>
              </a:rPr>
              <a:t> </a:t>
            </a:r>
          </a:p>
          <a:p>
            <a:pPr lvl="0" hangingPunct="0"/>
            <a:r>
              <a:rPr lang="uk-UA" sz="2400" b="1" kern="0" baseline="0" dirty="0">
                <a:latin typeface="Poppins Light"/>
                <a:sym typeface="Poppins Light"/>
              </a:rPr>
              <a:t>СТРАТЕГІЯ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37" name="Shape 7937"/>
          <p:cNvSpPr/>
          <p:nvPr/>
        </p:nvSpPr>
        <p:spPr>
          <a:xfrm>
            <a:off x="1214134" y="4832926"/>
            <a:ext cx="2610679" cy="1815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lvl="0" hangingPunct="0"/>
            <a:r>
              <a:rPr lang="uk-UA" u="sng" kern="0" dirty="0">
                <a:solidFill>
                  <a:srgbClr val="000000"/>
                </a:solidFill>
                <a:latin typeface="+mj-lt"/>
              </a:rPr>
              <a:t>Зона уваги юриста: </a:t>
            </a:r>
          </a:p>
          <a:p>
            <a:pPr lvl="0" hangingPunct="0"/>
            <a:r>
              <a:rPr lang="uk-UA" kern="0" dirty="0">
                <a:solidFill>
                  <a:srgbClr val="000000"/>
                </a:solidFill>
                <a:latin typeface="+mj-lt"/>
              </a:rPr>
              <a:t>Інтернет-магазин може бути конкурентом для інших партнерів, а отже не має узгоджувати дії з конкурентами щодо цінової політики та </a:t>
            </a:r>
            <a:r>
              <a:rPr lang="uk-UA" kern="0" dirty="0" err="1">
                <a:solidFill>
                  <a:srgbClr val="000000"/>
                </a:solidFill>
                <a:latin typeface="+mj-lt"/>
              </a:rPr>
              <a:t>промо</a:t>
            </a:r>
            <a:r>
              <a:rPr lang="uk-UA" kern="0" dirty="0">
                <a:solidFill>
                  <a:srgbClr val="000000"/>
                </a:solidFill>
                <a:latin typeface="+mj-lt"/>
              </a:rPr>
              <a:t> стратегії</a:t>
            </a:r>
            <a:endParaRPr kumimoji="0" lang="uk-UA" sz="1600" b="0" i="0" u="none" strike="noStrike" kern="0" cap="none" spc="0" normalizeH="0" baseline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sym typeface="Montserrat Regular"/>
            </a:endParaRPr>
          </a:p>
        </p:txBody>
      </p:sp>
      <p:sp>
        <p:nvSpPr>
          <p:cNvPr id="7939" name="Shape 7939"/>
          <p:cNvSpPr/>
          <p:nvPr/>
        </p:nvSpPr>
        <p:spPr>
          <a:xfrm>
            <a:off x="5679785" y="3880306"/>
            <a:ext cx="846090" cy="92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984"/>
                </a:moveTo>
                <a:lnTo>
                  <a:pt x="10848" y="11862"/>
                </a:lnTo>
                <a:lnTo>
                  <a:pt x="0" y="11862"/>
                </a:lnTo>
                <a:lnTo>
                  <a:pt x="10848" y="21600"/>
                </a:lnTo>
                <a:lnTo>
                  <a:pt x="9299" y="16200"/>
                </a:lnTo>
                <a:lnTo>
                  <a:pt x="21600" y="12748"/>
                </a:lnTo>
                <a:lnTo>
                  <a:pt x="10848" y="0"/>
                </a:lnTo>
                <a:lnTo>
                  <a:pt x="0" y="3984"/>
                </a:lnTo>
                <a:close/>
              </a:path>
            </a:pathLst>
          </a:custGeom>
          <a:solidFill>
            <a:srgbClr val="628B25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40" name="Shape 7940"/>
          <p:cNvSpPr/>
          <p:nvPr/>
        </p:nvSpPr>
        <p:spPr>
          <a:xfrm>
            <a:off x="4717977" y="2332308"/>
            <a:ext cx="2769704" cy="1737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73" y="21600"/>
                </a:lnTo>
                <a:lnTo>
                  <a:pt x="18819" y="21600"/>
                </a:lnTo>
                <a:lnTo>
                  <a:pt x="1095" y="21364"/>
                </a:lnTo>
                <a:lnTo>
                  <a:pt x="59" y="943"/>
                </a:ln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41" name="Shape 7941"/>
          <p:cNvSpPr/>
          <p:nvPr/>
        </p:nvSpPr>
        <p:spPr>
          <a:xfrm>
            <a:off x="4912836" y="2554828"/>
            <a:ext cx="2379986" cy="93794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FFFFFF"/>
                </a:solidFill>
              </a:defRPr>
            </a:lvl1pPr>
          </a:lstStyle>
          <a:p>
            <a:pPr lvl="0" hangingPunct="0"/>
            <a:r>
              <a:rPr lang="uk-UA" sz="2400" b="1" dirty="0">
                <a:sym typeface="Poppins Light"/>
              </a:rPr>
              <a:t>ПОВЕДІНКА НА РИНКУ</a:t>
            </a:r>
            <a:endParaRPr sz="2400" b="1" dirty="0">
              <a:sym typeface="Poppins Light"/>
            </a:endParaRPr>
          </a:p>
        </p:txBody>
      </p:sp>
      <p:sp>
        <p:nvSpPr>
          <p:cNvPr id="7942" name="Shape 7942"/>
          <p:cNvSpPr/>
          <p:nvPr/>
        </p:nvSpPr>
        <p:spPr>
          <a:xfrm>
            <a:off x="4583711" y="4866030"/>
            <a:ext cx="3038235" cy="181588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lvl="0" hangingPunct="0"/>
            <a:r>
              <a:rPr lang="ru-RU" u="sng" kern="0" dirty="0">
                <a:solidFill>
                  <a:srgbClr val="000000"/>
                </a:solidFill>
                <a:latin typeface="+mj-lt"/>
              </a:rPr>
              <a:t>Зона уваги юриста:</a:t>
            </a:r>
          </a:p>
          <a:p>
            <a:pPr lvl="0" hangingPunct="0"/>
            <a:r>
              <a:rPr lang="ru-RU" kern="0" dirty="0">
                <a:solidFill>
                  <a:srgbClr val="000000"/>
                </a:solidFill>
                <a:latin typeface="+mj-lt"/>
              </a:rPr>
              <a:t>Комерційна поведінка </a:t>
            </a:r>
            <a:r>
              <a:rPr lang="uk-UA" kern="0" dirty="0">
                <a:solidFill>
                  <a:srgbClr val="000000"/>
                </a:solidFill>
                <a:latin typeface="+mj-lt"/>
              </a:rPr>
              <a:t>Інтернет-магазину </a:t>
            </a:r>
            <a:r>
              <a:rPr lang="ru-RU" kern="0" dirty="0">
                <a:solidFill>
                  <a:srgbClr val="000000"/>
                </a:solidFill>
                <a:latin typeface="+mj-lt"/>
              </a:rPr>
              <a:t>повинна ґрунтуватися на односторонніх рішеннях, не на проханнях, скаргах, побажаннях, угодах і т.п. конкуруючих партнерів</a:t>
            </a:r>
            <a:endParaRPr kern="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944" name="Shape 7944"/>
          <p:cNvSpPr/>
          <p:nvPr/>
        </p:nvSpPr>
        <p:spPr>
          <a:xfrm>
            <a:off x="9238912" y="3880306"/>
            <a:ext cx="846089" cy="9257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3984"/>
                </a:moveTo>
                <a:lnTo>
                  <a:pt x="10848" y="11862"/>
                </a:lnTo>
                <a:lnTo>
                  <a:pt x="0" y="11862"/>
                </a:lnTo>
                <a:lnTo>
                  <a:pt x="10848" y="21600"/>
                </a:lnTo>
                <a:lnTo>
                  <a:pt x="9299" y="16200"/>
                </a:lnTo>
                <a:lnTo>
                  <a:pt x="21600" y="12748"/>
                </a:lnTo>
                <a:lnTo>
                  <a:pt x="10848" y="0"/>
                </a:lnTo>
                <a:lnTo>
                  <a:pt x="0" y="3984"/>
                </a:lnTo>
                <a:close/>
              </a:path>
            </a:pathLst>
          </a:custGeom>
          <a:solidFill>
            <a:srgbClr val="BF9000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45" name="Shape 7945"/>
          <p:cNvSpPr/>
          <p:nvPr/>
        </p:nvSpPr>
        <p:spPr>
          <a:xfrm>
            <a:off x="8277104" y="2332308"/>
            <a:ext cx="2769704" cy="17377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19973" y="21600"/>
                </a:lnTo>
                <a:lnTo>
                  <a:pt x="18819" y="21600"/>
                </a:lnTo>
                <a:lnTo>
                  <a:pt x="1095" y="21364"/>
                </a:lnTo>
                <a:lnTo>
                  <a:pt x="59" y="943"/>
                </a:lnTo>
                <a:lnTo>
                  <a:pt x="0" y="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sp>
        <p:nvSpPr>
          <p:cNvPr id="7946" name="Shape 7946"/>
          <p:cNvSpPr/>
          <p:nvPr/>
        </p:nvSpPr>
        <p:spPr>
          <a:xfrm>
            <a:off x="8429388" y="2312150"/>
            <a:ext cx="2603759" cy="17707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FFFFFF"/>
                </a:solidFill>
              </a:defRPr>
            </a:lvl1pPr>
          </a:lstStyle>
          <a:p>
            <a:pPr hangingPunct="0"/>
            <a:r>
              <a:rPr lang="uk-UA" sz="2400" b="1" dirty="0"/>
              <a:t>ОБМІН  КОМЕРЦІЙНОЮ </a:t>
            </a:r>
          </a:p>
          <a:p>
            <a:pPr hangingPunct="0"/>
            <a:r>
              <a:rPr lang="uk-UA" sz="2400" b="1" dirty="0"/>
              <a:t>ІНФОРМАЦІЄЮ</a:t>
            </a:r>
          </a:p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sz="2000" b="1" kern="0" dirty="0">
              <a:latin typeface="Poppins Light"/>
              <a:sym typeface="Poppins Light"/>
            </a:endParaRPr>
          </a:p>
        </p:txBody>
      </p:sp>
      <p:sp>
        <p:nvSpPr>
          <p:cNvPr id="7947" name="Shape 7947"/>
          <p:cNvSpPr/>
          <p:nvPr/>
        </p:nvSpPr>
        <p:spPr>
          <a:xfrm>
            <a:off x="8182436" y="4866030"/>
            <a:ext cx="2850711" cy="156966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 algn="ctr">
              <a:defRPr sz="1600">
                <a:latin typeface="Montserrat Regular"/>
                <a:ea typeface="Montserrat Regular"/>
                <a:cs typeface="Montserrat Regular"/>
                <a:sym typeface="Montserrat Regular"/>
              </a:defRPr>
            </a:lvl1pPr>
          </a:lstStyle>
          <a:p>
            <a:pPr lvl="0" hangingPunct="0"/>
            <a:r>
              <a:rPr lang="uk-UA" u="sng" kern="0" dirty="0">
                <a:solidFill>
                  <a:srgbClr val="000000"/>
                </a:solidFill>
                <a:latin typeface="+mj-lt"/>
              </a:rPr>
              <a:t>Зона уваги юриста:</a:t>
            </a:r>
          </a:p>
          <a:p>
            <a:pPr lvl="0" hangingPunct="0"/>
            <a:r>
              <a:rPr lang="uk-UA" kern="0" dirty="0">
                <a:solidFill>
                  <a:srgbClr val="000000"/>
                </a:solidFill>
                <a:latin typeface="+mj-lt"/>
              </a:rPr>
              <a:t>Складські запаси, об'єми імпорту та інша інформація також є частиною комерційної таємниці, та не може бути узгодженою з партнерами </a:t>
            </a:r>
          </a:p>
        </p:txBody>
      </p:sp>
      <p:sp>
        <p:nvSpPr>
          <p:cNvPr id="7949" name="Shape 7949"/>
          <p:cNvSpPr/>
          <p:nvPr/>
        </p:nvSpPr>
        <p:spPr>
          <a:xfrm flipH="1" flipV="1">
            <a:off x="5663774" y="1265574"/>
            <a:ext cx="864453" cy="1"/>
          </a:xfrm>
          <a:prstGeom prst="line">
            <a:avLst/>
          </a:prstGeom>
          <a:ln w="57150">
            <a:solidFill>
              <a:srgbClr val="000000"/>
            </a:solidFill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Light"/>
              <a:sym typeface="Poppins Light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1288" y="87329"/>
            <a:ext cx="981075" cy="1085850"/>
          </a:xfrm>
          <a:prstGeom prst="rect">
            <a:avLst/>
          </a:prstGeom>
        </p:spPr>
      </p:pic>
      <p:sp>
        <p:nvSpPr>
          <p:cNvPr id="2" name="Shape 8334">
            <a:extLst>
              <a:ext uri="{FF2B5EF4-FFF2-40B4-BE49-F238E27FC236}">
                <a16:creationId xmlns:a16="http://schemas.microsoft.com/office/drawing/2014/main" id="{A3893B70-8447-435C-CB2B-3611D9C4D6D9}"/>
              </a:ext>
            </a:extLst>
          </p:cNvPr>
          <p:cNvSpPr/>
          <p:nvPr/>
        </p:nvSpPr>
        <p:spPr>
          <a:xfrm>
            <a:off x="1736036" y="1415344"/>
            <a:ext cx="8719931" cy="3646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lnSpc>
                <a:spcPct val="120000"/>
              </a:lnSpc>
              <a:defRPr sz="1300">
                <a:solidFill>
                  <a:srgbClr val="8A8E8C"/>
                </a:solidFill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uk-UA" sz="1600" b="1" kern="0" dirty="0">
                <a:solidFill>
                  <a:srgbClr val="000000"/>
                </a:solidFill>
                <a:latin typeface="Montserrat Regular"/>
                <a:ea typeface="Montserrat Regular"/>
                <a:cs typeface="Montserrat Regular"/>
                <a:sym typeface="Poppins Light"/>
              </a:rPr>
              <a:t>Зона уваги юриста в сфері конкуренції</a:t>
            </a:r>
            <a:endParaRPr sz="1600" b="1" kern="0" dirty="0">
              <a:solidFill>
                <a:srgbClr val="000000"/>
              </a:solidFill>
              <a:latin typeface="Montserrat Regular"/>
              <a:ea typeface="Montserrat Regular"/>
              <a:cs typeface="Montserrat Regular"/>
              <a:sym typeface="Poppi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983694809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7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9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7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79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7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79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9" fill="hold"/>
                                        <p:tgtEl>
                                          <p:spTgt spid="7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9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9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5" fill="hold"/>
                                        <p:tgtEl>
                                          <p:spTgt spid="7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" dur="500"/>
                                        <p:tgtEl>
                                          <p:spTgt spid="79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9" fill="hold"/>
                                        <p:tgtEl>
                                          <p:spTgt spid="7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79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3" fill="hold"/>
                                        <p:tgtEl>
                                          <p:spTgt spid="7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7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8" fill="hold"/>
                                        <p:tgtEl>
                                          <p:spTgt spid="7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79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79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4" fill="hold"/>
                                        <p:tgtEl>
                                          <p:spTgt spid="7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79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48" fill="hold"/>
                                        <p:tgtEl>
                                          <p:spTgt spid="7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500"/>
                                        <p:tgtEl>
                                          <p:spTgt spid="79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9" presetClass="entr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2" fill="hold"/>
                                        <p:tgtEl>
                                          <p:spTgt spid="7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3" dur="500"/>
                                        <p:tgtEl>
                                          <p:spTgt spid="79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57" fill="hold"/>
                                        <p:tgtEl>
                                          <p:spTgt spid="7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9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79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34" grpId="0" animBg="1" advAuto="0"/>
      <p:bldP spid="7935" grpId="0" animBg="1" advAuto="0"/>
      <p:bldP spid="7936" grpId="0" animBg="1" advAuto="0"/>
      <p:bldP spid="7937" grpId="0" animBg="1" advAuto="0"/>
      <p:bldP spid="7939" grpId="0" animBg="1" advAuto="0"/>
      <p:bldP spid="7940" grpId="0" animBg="1" advAuto="0"/>
      <p:bldP spid="7941" grpId="0" animBg="1" advAuto="0"/>
      <p:bldP spid="7942" grpId="0" animBg="1" advAuto="0"/>
      <p:bldP spid="7944" grpId="0" animBg="1" advAuto="0"/>
      <p:bldP spid="7945" grpId="0" animBg="1" advAuto="0"/>
      <p:bldP spid="7946" grpId="0" animBg="1" advAuto="0"/>
      <p:bldP spid="7947" grpId="0" animBg="1" advAuto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826" y="0"/>
            <a:ext cx="12377651" cy="6858000"/>
          </a:xfrm>
          <a:prstGeom prst="rect">
            <a:avLst/>
          </a:prstGeom>
        </p:spPr>
      </p:pic>
      <p:sp>
        <p:nvSpPr>
          <p:cNvPr id="22" name="Text Placeholder 21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960225" y="997527"/>
            <a:ext cx="441405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4400" b="1" dirty="0">
                <a:solidFill>
                  <a:schemeClr val="bg2"/>
                </a:solidFill>
              </a:rPr>
              <a:t>БЕЗПЕЧНИХ ПРОДАЖІВ ОНЛАЙН</a:t>
            </a:r>
            <a:endParaRPr lang="en-US" sz="44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072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mNO_54Sa2hlaXD_IEji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Z.6C_Tu2XwAo0QYSkJ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ZnkiSTuqlYXlI_XspM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uU8qa_Tc6mVTVu3xAZv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JDRB1TTOSjqWbbUF_XO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yvM2iRHaxZ5i4g7GA.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ESLIDE01"/>
  <p:tag name="COLORSETGROUPCLASSNAME" val="ColorSetGroupLight"/>
  <p:tag name="FONTSETGROUPCLASSNAME" val="FontSetGroup1"/>
  <p:tag name="SHAPECLASSNAME" val="PhilipsShieldWihte"/>
  <p:tag name="SHAPECLASSFILE" val="PHSHIELDWIHTE2013$C.emf"/>
  <p:tag name="SHAPECLASSPROTECTIONTYPE" val="3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DBUoc6Sy.lkCHWo1uw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cqiK.QS.uCKor15CER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fHA3mKSQSlIsgihYk8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mNO_54Sa2hlaXD_IEji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Z.6C_Tu2XwAo0QYSk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hZnkiSTuqlYXlI_Xsp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yvM2iRHaxZ5i4g7GA.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VFSuEQQups0ulDuF19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0pDCr0Q2Wp2L0wENce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c97NhnRtGIQipb0wEN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q1yE6hRTGv_ga4GbII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.LJhckSGCxmH17d0fW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3EePDZRDCiGs6qA7F.i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batYagSyKSJhzbVoC0G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template_16x9_nov18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16x9_nov18_1112.pptx" id="{BEC723CF-679C-4F78-8FDC-5F75600573FC}" vid="{82C35204-7926-405E-85BB-7292904EC940}"/>
    </a:ext>
  </a:extLst>
</a:theme>
</file>

<file path=ppt/theme/theme2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19AAE1"/>
      </a:accent1>
      <a:accent2>
        <a:srgbClr val="00B991"/>
      </a:accent2>
      <a:accent3>
        <a:srgbClr val="82B932"/>
      </a:accent3>
      <a:accent4>
        <a:srgbClr val="FFC000"/>
      </a:accent4>
      <a:accent5>
        <a:srgbClr val="F85D2D"/>
      </a:accent5>
      <a:accent6>
        <a:srgbClr val="7030A0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Poppins Light"/>
            <a:ea typeface="Poppins Light"/>
            <a:cs typeface="Poppins Light"/>
            <a:sym typeface="Poppi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Poppins Light"/>
            <a:ea typeface="Poppins Light"/>
            <a:cs typeface="Poppins Light"/>
            <a:sym typeface="Poppins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presentation_template_4x3_nov18">
  <a:themeElements>
    <a:clrScheme name="Philip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66A1"/>
      </a:accent1>
      <a:accent2>
        <a:srgbClr val="1E9D8B"/>
      </a:accent2>
      <a:accent3>
        <a:srgbClr val="5B8F22"/>
      </a:accent3>
      <a:accent4>
        <a:srgbClr val="E98300"/>
      </a:accent4>
      <a:accent5>
        <a:srgbClr val="EC4371"/>
      </a:accent5>
      <a:accent6>
        <a:srgbClr val="9E2DB1"/>
      </a:accent6>
      <a:hlink>
        <a:srgbClr val="0089C4"/>
      </a:hlink>
      <a:folHlink>
        <a:srgbClr val="631D76"/>
      </a:folHlink>
    </a:clrScheme>
    <a:fontScheme name="Philips_New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hilips_presentation_template_4x3_nov18_1112.pptx" id="{2C4D4E68-C01B-4EB2-AB68-CC14CF1AE983}" vid="{7B680FD1-2973-47A2-BA48-BD1393C40CEB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AD792926AF24C46B508B75921F0643B" ma:contentTypeVersion="12" ma:contentTypeDescription="Create a new document." ma:contentTypeScope="" ma:versionID="e037a407a8b0db060bb8ab320fcefba3">
  <xsd:schema xmlns:xsd="http://www.w3.org/2001/XMLSchema" xmlns:xs="http://www.w3.org/2001/XMLSchema" xmlns:p="http://schemas.microsoft.com/office/2006/metadata/properties" xmlns:ns3="d4405e75-dba5-4699-8105-096a22b9e909" xmlns:ns4="ff433350-d758-49d9-8938-3a5f57520413" targetNamespace="http://schemas.microsoft.com/office/2006/metadata/properties" ma:root="true" ma:fieldsID="421945e268a3a219aa29a5d801007a7a" ns3:_="" ns4:_="">
    <xsd:import namespace="d4405e75-dba5-4699-8105-096a22b9e909"/>
    <xsd:import namespace="ff433350-d758-49d9-8938-3a5f5752041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405e75-dba5-4699-8105-096a22b9e90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433350-d758-49d9-8938-3a5f575204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92BC25B-0EF8-42E1-8399-55605AE548C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405e75-dba5-4699-8105-096a22b9e909"/>
    <ds:schemaRef ds:uri="ff433350-d758-49d9-8938-3a5f5752041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AA5D1DC-6BCE-43F4-912B-9109224FA5A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F0B4B5-4EBD-4A43-9A68-0C59BD94C75A}">
  <ds:schemaRefs>
    <ds:schemaRef ds:uri="ff433350-d758-49d9-8938-3a5f5752041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d4405e75-dba5-4699-8105-096a22b9e909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2</Words>
  <Application>Microsoft Office PowerPoint</Application>
  <PresentationFormat>Widescreen</PresentationFormat>
  <Paragraphs>3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9" baseType="lpstr">
      <vt:lpstr>Arial</vt:lpstr>
      <vt:lpstr>Calibri</vt:lpstr>
      <vt:lpstr>Calibri Light</vt:lpstr>
      <vt:lpstr>Gill Sans</vt:lpstr>
      <vt:lpstr>Helvetica</vt:lpstr>
      <vt:lpstr>Helvetica Light</vt:lpstr>
      <vt:lpstr>Lato</vt:lpstr>
      <vt:lpstr>Montserrat Regular</vt:lpstr>
      <vt:lpstr>Montserrat SemiBold</vt:lpstr>
      <vt:lpstr>Poppins Light</vt:lpstr>
      <vt:lpstr>presentation_template_16x9_nov18</vt:lpstr>
      <vt:lpstr>Office Theme</vt:lpstr>
      <vt:lpstr>presentation_template_4x3_nov18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hili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harova, Anna</dc:creator>
  <cp:lastModifiedBy>Zharova, Anna</cp:lastModifiedBy>
  <cp:revision>25</cp:revision>
  <dcterms:created xsi:type="dcterms:W3CDTF">2020-07-06T11:32:01Z</dcterms:created>
  <dcterms:modified xsi:type="dcterms:W3CDTF">2024-04-22T14:12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AD792926AF24C46B508B75921F0643B</vt:lpwstr>
  </property>
</Properties>
</file>